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7" r:id="rId2"/>
    <p:sldMasterId id="2147483680" r:id="rId3"/>
  </p:sldMasterIdLst>
  <p:notesMasterIdLst>
    <p:notesMasterId r:id="rId5"/>
  </p:notesMasterIdLst>
  <p:sldIdLst>
    <p:sldId id="438" r:id="rId4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202E"/>
    <a:srgbClr val="25A2FF"/>
    <a:srgbClr val="75C4FF"/>
    <a:srgbClr val="0078D2"/>
    <a:srgbClr val="00DE64"/>
    <a:srgbClr val="1BD31F"/>
    <a:srgbClr val="009A46"/>
    <a:srgbClr val="63EB66"/>
    <a:srgbClr val="78B832"/>
    <a:srgbClr val="8FF1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814" autoAdjust="0"/>
    <p:restoredTop sz="94660"/>
  </p:normalViewPr>
  <p:slideViewPr>
    <p:cSldViewPr snapToGrid="0">
      <p:cViewPr>
        <p:scale>
          <a:sx n="100" d="100"/>
          <a:sy n="100" d="100"/>
        </p:scale>
        <p:origin x="1632" y="1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10" Type="http://schemas.microsoft.com/office/2016/11/relationships/changesInfo" Target="changesInfos/changesInfo1.xml"/><Relationship Id="rId4" Type="http://schemas.openxmlformats.org/officeDocument/2006/relationships/slide" Target="slides/slide1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kle, Linlee" userId="5bcd172e-5cb6-4c7b-b658-0b2ccbf2e3bf" providerId="ADAL" clId="{546C264B-866F-4020-9A24-AFEC75FCCB77}"/>
    <pc:docChg chg="custSel modSld">
      <pc:chgData name="Markle, Linlee" userId="5bcd172e-5cb6-4c7b-b658-0b2ccbf2e3bf" providerId="ADAL" clId="{546C264B-866F-4020-9A24-AFEC75FCCB77}" dt="2026-02-04T18:42:51.293" v="66" actId="255"/>
      <pc:docMkLst>
        <pc:docMk/>
      </pc:docMkLst>
      <pc:sldChg chg="modSp mod">
        <pc:chgData name="Markle, Linlee" userId="5bcd172e-5cb6-4c7b-b658-0b2ccbf2e3bf" providerId="ADAL" clId="{546C264B-866F-4020-9A24-AFEC75FCCB77}" dt="2026-02-04T18:42:51.293" v="66" actId="255"/>
        <pc:sldMkLst>
          <pc:docMk/>
          <pc:sldMk cId="3329858487" sldId="438"/>
        </pc:sldMkLst>
        <pc:spChg chg="mod">
          <ac:chgData name="Markle, Linlee" userId="5bcd172e-5cb6-4c7b-b658-0b2ccbf2e3bf" providerId="ADAL" clId="{546C264B-866F-4020-9A24-AFEC75FCCB77}" dt="2026-02-04T18:41:48.749" v="18" actId="14100"/>
          <ac:spMkLst>
            <pc:docMk/>
            <pc:sldMk cId="3329858487" sldId="438"/>
            <ac:spMk id="3" creationId="{A468F762-DBE9-B565-3D0E-E6FEB545FCF6}"/>
          </ac:spMkLst>
        </pc:spChg>
        <pc:spChg chg="mod">
          <ac:chgData name="Markle, Linlee" userId="5bcd172e-5cb6-4c7b-b658-0b2ccbf2e3bf" providerId="ADAL" clId="{546C264B-866F-4020-9A24-AFEC75FCCB77}" dt="2026-02-04T18:41:18.556" v="9" actId="1076"/>
          <ac:spMkLst>
            <pc:docMk/>
            <pc:sldMk cId="3329858487" sldId="438"/>
            <ac:spMk id="23" creationId="{705964FE-EF30-C51F-A8F0-AE05B4F671C1}"/>
          </ac:spMkLst>
        </pc:spChg>
        <pc:graphicFrameChg chg="modGraphic">
          <ac:chgData name="Markle, Linlee" userId="5bcd172e-5cb6-4c7b-b658-0b2ccbf2e3bf" providerId="ADAL" clId="{546C264B-866F-4020-9A24-AFEC75FCCB77}" dt="2026-02-04T18:42:51.293" v="66" actId="255"/>
          <ac:graphicFrameMkLst>
            <pc:docMk/>
            <pc:sldMk cId="3329858487" sldId="438"/>
            <ac:graphicFrameMk id="21" creationId="{84B31D42-795D-AC8F-155E-769A286C2E9A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A59DA89C-5EEA-43A8-89D5-2C3E3A76ACB3}" type="datetimeFigureOut">
              <a:rPr lang="en-US" smtClean="0"/>
              <a:t>2/4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EF3C756-D64C-43D0-98CE-8F179F458A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967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72A886-2641-7C58-F387-A055D64574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5A1492B-F0FD-5FB3-3A66-1DD7396360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9D23537-F16F-D748-6681-BCE2C166315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1774">
              <a:defRPr/>
            </a:pPr>
            <a:r>
              <a:rPr lang="en-US" dirty="0"/>
              <a:t>Do I need to add BLE?</a:t>
            </a:r>
            <a:endParaRPr lang="en-US" dirty="0">
              <a:latin typeface="Arial" panose="020B0604020202020204" pitchFamily="34" charset="0"/>
            </a:endParaRPr>
          </a:p>
          <a:p>
            <a:endParaRPr lang="en-US" dirty="0"/>
          </a:p>
          <a:p>
            <a:r>
              <a:rPr lang="en-US" dirty="0"/>
              <a:t>Do we need to add </a:t>
            </a:r>
            <a:r>
              <a:rPr lang="en-US" dirty="0" err="1"/>
              <a:t>Mfi</a:t>
            </a:r>
            <a:r>
              <a:rPr lang="en-US" dirty="0"/>
              <a:t>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899024-1459-DB0D-14CA-195872DB3E6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746537">
              <a:defRPr/>
            </a:pPr>
            <a:fld id="{ED70284F-7E88-4545-9BB2-221688BE3F3A}" type="slidenum">
              <a:rPr lang="en-US">
                <a:solidFill>
                  <a:prstClr val="black"/>
                </a:solidFill>
                <a:latin typeface="Arial"/>
              </a:rPr>
              <a:pPr defTabSz="746537">
                <a:defRPr/>
              </a:pPr>
              <a:t>1</a:t>
            </a:fld>
            <a:endParaRPr lang="en-US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656570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ttle card 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1C84CC1-84B5-4D26-AEDB-357857ECF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2104062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1C84CC1-84B5-4D26-AEDB-357857ECF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C1BFB45-C43D-4713-A656-53090907DA3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5728" y="727752"/>
            <a:ext cx="6737217" cy="389787"/>
          </a:xfrm>
          <a:prstGeom prst="rect">
            <a:avLst/>
          </a:prstGeom>
        </p:spPr>
        <p:txBody>
          <a:bodyPr wrap="square" tIns="182880">
            <a:spAutoFit/>
          </a:bodyPr>
          <a:lstStyle>
            <a:lvl1pPr marL="0" indent="0">
              <a:spcAft>
                <a:spcPts val="0"/>
              </a:spcAft>
              <a:buNone/>
              <a:defRPr sz="1333">
                <a:solidFill>
                  <a:schemeClr val="tx1"/>
                </a:solidFill>
              </a:defRPr>
            </a:lvl1pPr>
            <a:lvl2pPr marL="45719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7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5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4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3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2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404092" y="1791933"/>
            <a:ext cx="7570325" cy="240912"/>
          </a:xfrm>
          <a:prstGeom prst="rect">
            <a:avLst/>
          </a:prstGeom>
        </p:spPr>
        <p:txBody>
          <a:bodyPr/>
          <a:lstStyle>
            <a:lvl1pPr>
              <a:defRPr sz="1333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Why </a:t>
            </a:r>
            <a:r>
              <a:rPr lang="en-US" err="1"/>
              <a:t>honeywell</a:t>
            </a:r>
            <a:endParaRPr lang="en-US"/>
          </a:p>
        </p:txBody>
      </p:sp>
      <p:sp>
        <p:nvSpPr>
          <p:cNvPr id="63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404092" y="2098693"/>
            <a:ext cx="7570325" cy="482633"/>
          </a:xfrm>
          <a:prstGeom prst="rect">
            <a:avLst/>
          </a:prstGeom>
        </p:spPr>
        <p:txBody>
          <a:bodyPr/>
          <a:lstStyle>
            <a:lvl1pPr>
              <a:defRPr sz="1059" b="1" baseline="0"/>
            </a:lvl1pPr>
            <a:lvl2pPr marL="0" indent="0">
              <a:buNone/>
              <a:defRPr sz="1200" b="1"/>
            </a:lvl2pPr>
            <a:lvl3pPr>
              <a:defRPr sz="1059" b="0"/>
            </a:lvl3pPr>
            <a:lvl4pPr>
              <a:defRPr sz="1059" b="0"/>
            </a:lvl4pPr>
            <a:lvl5pPr>
              <a:defRPr sz="1059" b="0"/>
            </a:lvl5pPr>
          </a:lstStyle>
          <a:p>
            <a:pPr lvl="1"/>
            <a:r>
              <a:rPr lang="en-US" dirty="0"/>
              <a:t>Edit Master text styles </a:t>
            </a:r>
          </a:p>
        </p:txBody>
      </p:sp>
      <p:sp>
        <p:nvSpPr>
          <p:cNvPr id="64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404092" y="2706584"/>
            <a:ext cx="3676488" cy="158037"/>
          </a:xfrm>
          <a:prstGeom prst="rect">
            <a:avLst/>
          </a:prstGeom>
        </p:spPr>
        <p:txBody>
          <a:bodyPr/>
          <a:lstStyle>
            <a:lvl1pPr>
              <a:defRPr sz="1333" cap="all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 sz="795" baseline="0"/>
            </a:lvl2pPr>
            <a:lvl3pPr marL="284157" indent="0">
              <a:buNone/>
              <a:defRPr sz="795"/>
            </a:lvl3pPr>
            <a:lvl4pPr marL="565141" indent="0">
              <a:buNone/>
              <a:defRPr sz="795"/>
            </a:lvl4pPr>
            <a:lvl5pPr marL="792148" indent="0">
              <a:buNone/>
              <a:defRPr sz="795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8" name="Text Placeholder 21"/>
          <p:cNvSpPr>
            <a:spLocks noGrp="1"/>
          </p:cNvSpPr>
          <p:nvPr>
            <p:ph type="body" sz="quarter" idx="24"/>
          </p:nvPr>
        </p:nvSpPr>
        <p:spPr>
          <a:xfrm>
            <a:off x="4297929" y="2706584"/>
            <a:ext cx="3676488" cy="158037"/>
          </a:xfrm>
          <a:prstGeom prst="rect">
            <a:avLst/>
          </a:prstGeom>
        </p:spPr>
        <p:txBody>
          <a:bodyPr/>
          <a:lstStyle>
            <a:lvl1pPr>
              <a:defRPr sz="1333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795" b="1" baseline="0"/>
            </a:lvl2pPr>
            <a:lvl3pPr marL="284157" indent="0">
              <a:buNone/>
              <a:defRPr sz="795"/>
            </a:lvl3pPr>
            <a:lvl4pPr marL="565141" indent="0">
              <a:buNone/>
              <a:defRPr sz="795"/>
            </a:lvl4pPr>
            <a:lvl5pPr marL="792148" indent="0">
              <a:buNone/>
              <a:defRPr sz="795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0" name="Text Placeholder 43"/>
          <p:cNvSpPr>
            <a:spLocks noGrp="1"/>
          </p:cNvSpPr>
          <p:nvPr>
            <p:ph type="body" sz="quarter" idx="28"/>
          </p:nvPr>
        </p:nvSpPr>
        <p:spPr>
          <a:xfrm>
            <a:off x="403701" y="2975300"/>
            <a:ext cx="3677291" cy="1238856"/>
          </a:xfrm>
          <a:prstGeom prst="rect">
            <a:avLst/>
          </a:prstGeom>
        </p:spPr>
        <p:txBody>
          <a:bodyPr/>
          <a:lstStyle>
            <a:lvl1pPr>
              <a:defRPr sz="795" b="0"/>
            </a:lvl1pPr>
            <a:lvl2pPr>
              <a:defRPr sz="795" b="0"/>
            </a:lvl2pPr>
            <a:lvl3pPr>
              <a:defRPr sz="795" b="0"/>
            </a:lvl3pPr>
            <a:lvl4pPr marL="0" indent="0">
              <a:spcAft>
                <a:spcPts val="529"/>
              </a:spcAft>
              <a:buNone/>
              <a:defRPr sz="1200" b="0"/>
            </a:lvl4pPr>
            <a:lvl5pPr>
              <a:defRPr sz="795" b="0"/>
            </a:lvl5pPr>
          </a:lstStyle>
          <a:p>
            <a:pPr lvl="3"/>
            <a:r>
              <a:rPr lang="en-US" dirty="0"/>
              <a:t>Edit Master text styles</a:t>
            </a:r>
          </a:p>
        </p:txBody>
      </p:sp>
      <p:sp>
        <p:nvSpPr>
          <p:cNvPr id="71" name="Text Placeholder 45"/>
          <p:cNvSpPr>
            <a:spLocks noGrp="1"/>
          </p:cNvSpPr>
          <p:nvPr>
            <p:ph type="body" sz="quarter" idx="29"/>
          </p:nvPr>
        </p:nvSpPr>
        <p:spPr>
          <a:xfrm>
            <a:off x="4299121" y="2976669"/>
            <a:ext cx="3675296" cy="1238856"/>
          </a:xfrm>
          <a:prstGeom prst="rect">
            <a:avLst/>
          </a:prstGeom>
        </p:spPr>
        <p:txBody>
          <a:bodyPr/>
          <a:lstStyle>
            <a:lvl1pPr>
              <a:defRPr sz="795" b="0"/>
            </a:lvl1pPr>
            <a:lvl2pPr>
              <a:defRPr sz="795" b="0"/>
            </a:lvl2pPr>
            <a:lvl3pPr>
              <a:defRPr sz="795" b="0"/>
            </a:lvl3pPr>
            <a:lvl4pPr marL="0" indent="0">
              <a:spcAft>
                <a:spcPts val="529"/>
              </a:spcAft>
              <a:buNone/>
              <a:defRPr sz="1200" b="0"/>
            </a:lvl4pPr>
            <a:lvl5pPr>
              <a:defRPr sz="795" b="0"/>
            </a:lvl5pPr>
          </a:lstStyle>
          <a:p>
            <a:pPr lvl="3"/>
            <a:r>
              <a:rPr lang="en-US"/>
              <a:t>Edit Master text styles</a:t>
            </a:r>
          </a:p>
        </p:txBody>
      </p:sp>
      <p:sp>
        <p:nvSpPr>
          <p:cNvPr id="74" name="Text Placeholder 21"/>
          <p:cNvSpPr>
            <a:spLocks noGrp="1"/>
          </p:cNvSpPr>
          <p:nvPr>
            <p:ph type="body" sz="quarter" idx="32" hasCustomPrompt="1"/>
          </p:nvPr>
        </p:nvSpPr>
        <p:spPr>
          <a:xfrm>
            <a:off x="415728" y="4357008"/>
            <a:ext cx="3676488" cy="158037"/>
          </a:xfrm>
          <a:prstGeom prst="rect">
            <a:avLst/>
          </a:prstGeom>
        </p:spPr>
        <p:txBody>
          <a:bodyPr/>
          <a:lstStyle>
            <a:lvl1pPr>
              <a:defRPr sz="1333" cap="all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 sz="795" baseline="0"/>
            </a:lvl2pPr>
            <a:lvl3pPr marL="284157" indent="0">
              <a:buNone/>
              <a:defRPr sz="795"/>
            </a:lvl3pPr>
            <a:lvl4pPr marL="565141" indent="0">
              <a:buNone/>
              <a:defRPr sz="795"/>
            </a:lvl4pPr>
            <a:lvl5pPr marL="792148" indent="0">
              <a:buNone/>
              <a:defRPr sz="795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5" name="Text Placeholder 43"/>
          <p:cNvSpPr>
            <a:spLocks noGrp="1"/>
          </p:cNvSpPr>
          <p:nvPr>
            <p:ph type="body" sz="quarter" idx="33"/>
          </p:nvPr>
        </p:nvSpPr>
        <p:spPr>
          <a:xfrm>
            <a:off x="415727" y="4644969"/>
            <a:ext cx="3677291" cy="1396428"/>
          </a:xfrm>
          <a:prstGeom prst="rect">
            <a:avLst/>
          </a:prstGeom>
        </p:spPr>
        <p:txBody>
          <a:bodyPr/>
          <a:lstStyle>
            <a:lvl1pPr>
              <a:defRPr sz="795" b="0"/>
            </a:lvl1pPr>
            <a:lvl2pPr>
              <a:defRPr sz="795" b="0"/>
            </a:lvl2pPr>
            <a:lvl3pPr>
              <a:defRPr sz="795" b="0"/>
            </a:lvl3pPr>
            <a:lvl4pPr marL="0" indent="0">
              <a:spcAft>
                <a:spcPts val="529"/>
              </a:spcAft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sz="795" b="0"/>
            </a:lvl5pPr>
          </a:lstStyle>
          <a:p>
            <a:pPr lvl="3"/>
            <a:r>
              <a:rPr lang="en-US" dirty="0"/>
              <a:t>Edit Master text styles</a:t>
            </a:r>
          </a:p>
        </p:txBody>
      </p:sp>
      <p:sp>
        <p:nvSpPr>
          <p:cNvPr id="77" name="Text Placeholder 45"/>
          <p:cNvSpPr>
            <a:spLocks noGrp="1"/>
          </p:cNvSpPr>
          <p:nvPr>
            <p:ph type="body" sz="quarter" idx="35"/>
          </p:nvPr>
        </p:nvSpPr>
        <p:spPr>
          <a:xfrm>
            <a:off x="4299121" y="4644969"/>
            <a:ext cx="3675296" cy="1396428"/>
          </a:xfrm>
          <a:prstGeom prst="rect">
            <a:avLst/>
          </a:prstGeom>
        </p:spPr>
        <p:txBody>
          <a:bodyPr/>
          <a:lstStyle>
            <a:lvl1pPr>
              <a:defRPr sz="795" b="0"/>
            </a:lvl1pPr>
            <a:lvl2pPr>
              <a:defRPr sz="795" b="0"/>
            </a:lvl2pPr>
            <a:lvl3pPr>
              <a:defRPr sz="795" b="0"/>
            </a:lvl3pPr>
            <a:lvl4pPr marL="0" indent="-151284">
              <a:spcAft>
                <a:spcPts val="353"/>
              </a:spcAft>
              <a:buFont typeface="Arial" panose="020B0604020202020204" pitchFamily="34" charset="0"/>
              <a:buChar char="•"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43432" indent="-151284">
              <a:buFont typeface="Arial" panose="020B0604020202020204" pitchFamily="34" charset="0"/>
              <a:buChar char="•"/>
              <a:defRPr sz="795" b="0"/>
            </a:lvl5pPr>
          </a:lstStyle>
          <a:p>
            <a:pPr lvl="3"/>
            <a:r>
              <a:rPr lang="en-US"/>
              <a:t>Edit Master text styles</a:t>
            </a:r>
          </a:p>
        </p:txBody>
      </p:sp>
      <p:sp>
        <p:nvSpPr>
          <p:cNvPr id="26" name="Title 1"/>
          <p:cNvSpPr>
            <a:spLocks noGrp="1"/>
          </p:cNvSpPr>
          <p:nvPr>
            <p:ph type="title" hasCustomPrompt="1"/>
          </p:nvPr>
        </p:nvSpPr>
        <p:spPr>
          <a:xfrm>
            <a:off x="403861" y="261882"/>
            <a:ext cx="6749085" cy="434564"/>
          </a:xfrm>
        </p:spPr>
        <p:txBody>
          <a:bodyPr wrap="square" tIns="0" anchor="t">
            <a:spAutoFit/>
          </a:bodyPr>
          <a:lstStyle>
            <a:lvl1pPr>
              <a:lnSpc>
                <a:spcPct val="100000"/>
              </a:lnSpc>
              <a:defRPr sz="2824" b="0" cap="all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roduct / Software name</a:t>
            </a:r>
          </a:p>
        </p:txBody>
      </p:sp>
      <p:sp>
        <p:nvSpPr>
          <p:cNvPr id="27" name="Text Placeholder 21"/>
          <p:cNvSpPr>
            <a:spLocks noGrp="1"/>
          </p:cNvSpPr>
          <p:nvPr>
            <p:ph type="body" sz="quarter" idx="41"/>
          </p:nvPr>
        </p:nvSpPr>
        <p:spPr>
          <a:xfrm>
            <a:off x="4297929" y="4357008"/>
            <a:ext cx="3676488" cy="158037"/>
          </a:xfrm>
          <a:prstGeom prst="rect">
            <a:avLst/>
          </a:prstGeom>
        </p:spPr>
        <p:txBody>
          <a:bodyPr/>
          <a:lstStyle>
            <a:lvl1pPr>
              <a:defRPr sz="1333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795" b="1" baseline="0"/>
            </a:lvl2pPr>
            <a:lvl3pPr marL="284157" indent="0">
              <a:buNone/>
              <a:defRPr sz="795"/>
            </a:lvl3pPr>
            <a:lvl4pPr marL="565141" indent="0">
              <a:buNone/>
              <a:defRPr sz="795"/>
            </a:lvl4pPr>
            <a:lvl5pPr marL="792148" indent="0">
              <a:buNone/>
              <a:defRPr sz="795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70A15C7-C6F6-DDCE-AC38-9ACAC07B383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859387" y="6551224"/>
            <a:ext cx="951583" cy="17415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90D7A9A-F0B2-14FB-E26F-EE869426479E}"/>
              </a:ext>
            </a:extLst>
          </p:cNvPr>
          <p:cNvSpPr/>
          <p:nvPr userDrawn="1"/>
        </p:nvSpPr>
        <p:spPr>
          <a:xfrm>
            <a:off x="8226049" y="1637954"/>
            <a:ext cx="3584921" cy="441369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88" err="1">
              <a:solidFill>
                <a:schemeClr val="tx1"/>
              </a:solidFill>
            </a:endParaRPr>
          </a:p>
        </p:txBody>
      </p:sp>
      <p:sp>
        <p:nvSpPr>
          <p:cNvPr id="8" name="Text Placeholder 27">
            <a:extLst>
              <a:ext uri="{FF2B5EF4-FFF2-40B4-BE49-F238E27FC236}">
                <a16:creationId xmlns:a16="http://schemas.microsoft.com/office/drawing/2014/main" id="{2BD91FCE-9A65-BAAF-ED05-C3F357A6BBD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80945" y="1791933"/>
            <a:ext cx="3262647" cy="156883"/>
          </a:xfrm>
          <a:prstGeom prst="rect">
            <a:avLst/>
          </a:prstGeom>
        </p:spPr>
        <p:txBody>
          <a:bodyPr/>
          <a:lstStyle>
            <a:lvl1pPr>
              <a:defRPr sz="1333" cap="all" baseline="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795" b="1">
                <a:solidFill>
                  <a:schemeClr val="bg1"/>
                </a:solidFill>
              </a:defRPr>
            </a:lvl2pPr>
            <a:lvl3pPr marL="284157" indent="0">
              <a:buNone/>
              <a:defRPr>
                <a:solidFill>
                  <a:schemeClr val="bg1"/>
                </a:solidFill>
              </a:defRPr>
            </a:lvl3pPr>
            <a:lvl4pPr marL="565141" indent="0">
              <a:buNone/>
              <a:defRPr sz="795">
                <a:solidFill>
                  <a:schemeClr val="bg1"/>
                </a:solidFill>
              </a:defRPr>
            </a:lvl4pPr>
            <a:lvl5pPr marL="792148" indent="0">
              <a:buNone/>
              <a:defRPr sz="795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OVERVIEW </a:t>
            </a:r>
          </a:p>
        </p:txBody>
      </p:sp>
      <p:sp>
        <p:nvSpPr>
          <p:cNvPr id="9" name="Text Placeholder 30">
            <a:extLst>
              <a:ext uri="{FF2B5EF4-FFF2-40B4-BE49-F238E27FC236}">
                <a16:creationId xmlns:a16="http://schemas.microsoft.com/office/drawing/2014/main" id="{8CE69F17-ED4B-8DC4-F298-351260F2789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80945" y="2098692"/>
            <a:ext cx="3262647" cy="12896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3pPr marL="284157" marR="0" indent="0" algn="l" defTabSz="9143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795">
                <a:solidFill>
                  <a:schemeClr val="bg1"/>
                </a:solidFill>
              </a:defRPr>
            </a:lvl3pPr>
            <a:lvl4pPr marL="742936" indent="-177797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974708" indent="-182558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0">
            <a:extLst>
              <a:ext uri="{FF2B5EF4-FFF2-40B4-BE49-F238E27FC236}">
                <a16:creationId xmlns:a16="http://schemas.microsoft.com/office/drawing/2014/main" id="{6B4D9E39-D240-89D7-CFA9-799D7575F4F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80945" y="3994169"/>
            <a:ext cx="3262647" cy="143323"/>
          </a:xfrm>
          <a:prstGeom prst="rect">
            <a:avLst/>
          </a:prstGeom>
        </p:spPr>
        <p:txBody>
          <a:bodyPr/>
          <a:lstStyle>
            <a:lvl1pPr>
              <a:defRPr sz="1333" cap="all" baseline="0">
                <a:solidFill>
                  <a:schemeClr val="bg1"/>
                </a:solidFill>
                <a:latin typeface="+mj-lt"/>
              </a:defRPr>
            </a:lvl1pPr>
            <a:lvl3pPr marL="284157" marR="0" indent="0" algn="l" defTabSz="9143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795">
                <a:solidFill>
                  <a:schemeClr val="bg1"/>
                </a:solidFill>
              </a:defRPr>
            </a:lvl3pPr>
            <a:lvl4pPr marL="742936" indent="-177797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974708" indent="-182558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dustry application</a:t>
            </a:r>
          </a:p>
        </p:txBody>
      </p:sp>
      <p:sp>
        <p:nvSpPr>
          <p:cNvPr id="11" name="Text Placeholder 47">
            <a:extLst>
              <a:ext uri="{FF2B5EF4-FFF2-40B4-BE49-F238E27FC236}">
                <a16:creationId xmlns:a16="http://schemas.microsoft.com/office/drawing/2014/main" id="{02CFA2D7-2D50-88D3-216E-AC903AC64B2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80945" y="2326772"/>
            <a:ext cx="3262647" cy="152065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95" b="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84157" indent="0">
              <a:buNone/>
              <a:defRPr/>
            </a:lvl3pPr>
            <a:lvl4pPr marL="0" indent="0">
              <a:spcAft>
                <a:spcPts val="529"/>
              </a:spcAft>
              <a:buNone/>
              <a:defRPr sz="1200">
                <a:solidFill>
                  <a:schemeClr val="bg1"/>
                </a:solidFill>
              </a:defRPr>
            </a:lvl4pPr>
            <a:lvl5pPr marL="792148" indent="0">
              <a:buNone/>
              <a:defRPr/>
            </a:lvl5pPr>
          </a:lstStyle>
          <a:p>
            <a:pPr lvl="3"/>
            <a:r>
              <a:rPr lang="en-US" dirty="0"/>
              <a:t>Body text</a:t>
            </a:r>
          </a:p>
        </p:txBody>
      </p:sp>
      <p:sp>
        <p:nvSpPr>
          <p:cNvPr id="12" name="Text Placeholder 49">
            <a:extLst>
              <a:ext uri="{FF2B5EF4-FFF2-40B4-BE49-F238E27FC236}">
                <a16:creationId xmlns:a16="http://schemas.microsoft.com/office/drawing/2014/main" id="{2FFBAF25-AEB6-73F4-A747-7A0B92DE74C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380945" y="4253769"/>
            <a:ext cx="3262647" cy="1672111"/>
          </a:xfrm>
          <a:prstGeom prst="rect">
            <a:avLst/>
          </a:prstGeom>
        </p:spPr>
        <p:txBody>
          <a:bodyPr/>
          <a:lstStyle>
            <a:lvl1pPr marL="151284" indent="-151284">
              <a:buFont typeface="Arial" panose="020B0604020202020204" pitchFamily="34" charset="0"/>
              <a:buChar char="•"/>
              <a:defRPr sz="795" baseline="0">
                <a:solidFill>
                  <a:schemeClr val="bg1"/>
                </a:solidFill>
              </a:defRPr>
            </a:lvl1pPr>
            <a:lvl4pPr marL="0" indent="-151284">
              <a:spcAft>
                <a:spcPts val="529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200" b="0">
                <a:solidFill>
                  <a:schemeClr val="bg1"/>
                </a:solidFill>
              </a:defRPr>
            </a:lvl4pPr>
          </a:lstStyle>
          <a:p>
            <a:pPr lvl="3"/>
            <a:r>
              <a:rPr lang="en-US" dirty="0"/>
              <a:t>Body list</a:t>
            </a:r>
          </a:p>
          <a:p>
            <a:pPr lvl="3"/>
            <a:endParaRPr lang="en-US" dirty="0"/>
          </a:p>
        </p:txBody>
      </p:sp>
      <p:sp>
        <p:nvSpPr>
          <p:cNvPr id="13" name="Picture Placeholder 28">
            <a:extLst>
              <a:ext uri="{FF2B5EF4-FFF2-40B4-BE49-F238E27FC236}">
                <a16:creationId xmlns:a16="http://schemas.microsoft.com/office/drawing/2014/main" id="{A5B2BF56-8065-237F-845F-A1372EADA30E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10335263" y="313397"/>
            <a:ext cx="1308328" cy="1572896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059"/>
            </a:lvl1pPr>
          </a:lstStyle>
          <a:p>
            <a:endParaRPr lang="en-US"/>
          </a:p>
        </p:txBody>
      </p:sp>
      <p:sp>
        <p:nvSpPr>
          <p:cNvPr id="15" name="Rectangle 23">
            <a:extLst>
              <a:ext uri="{FF2B5EF4-FFF2-40B4-BE49-F238E27FC236}">
                <a16:creationId xmlns:a16="http://schemas.microsoft.com/office/drawing/2014/main" id="{DE99E349-D183-51D6-FD16-6489FCFD486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149247" y="6492126"/>
            <a:ext cx="6243648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en-US" sz="667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© 2025 Honeywell International Inc. </a:t>
            </a:r>
            <a:r>
              <a:rPr lang="en-US" altLang="en-US" sz="667" b="1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Internal Only</a:t>
            </a:r>
            <a:r>
              <a:rPr lang="en-US" altLang="en-US" sz="667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. Neither this document nor the information contained herein may be reproduced, used, distributed or disclosed to others without the written consent of Honeywell</a:t>
            </a:r>
          </a:p>
        </p:txBody>
      </p:sp>
    </p:spTree>
    <p:extLst>
      <p:ext uri="{BB962C8B-B14F-4D97-AF65-F5344CB8AC3E}">
        <p14:creationId xmlns:p14="http://schemas.microsoft.com/office/powerpoint/2010/main" val="7065384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12">
          <p15:clr>
            <a:srgbClr val="FBAE40"/>
          </p15:clr>
        </p15:guide>
        <p15:guide id="2" pos="4194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74253C-BB90-F878-27D2-721C6D6FA7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155B92-2B01-67F0-BC9D-F0ECDF95B7E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7E29995-5B5E-A7DF-5DCB-4C29BC216D3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5432EF4-9306-BFE9-48E3-A081D31BBF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8CC066-D7A6-4F70-8C40-6D52D45EF29B}" type="datetimeFigureOut">
              <a:rPr lang="en-US" smtClean="0"/>
              <a:t>2/4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94B6F5D-DC29-7BF4-6E2C-DB4F0F6789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6618814-EF12-2456-AFE9-51E3CA624F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399D24-8439-4402-B3C4-3BCF0AF3B5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41393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CB6749-6C7E-5C66-2B31-1B6CC3EB85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B9A313-FFC8-C8B7-1B23-8BFA84F0CC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D4ACD79-D038-1262-DA24-98CD2222952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74A8046-02D6-4995-7890-D333BD5E173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1911356-0DC8-40AF-E34B-922DC6CF8E2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40B13EA-A375-7EA1-C616-257E6E4226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8CC066-D7A6-4F70-8C40-6D52D45EF29B}" type="datetimeFigureOut">
              <a:rPr lang="en-US" smtClean="0"/>
              <a:t>2/4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D4D8855-A577-31E7-4387-C075BDBB7D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4CFB60A-B301-FAB9-20CA-D54499D82E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399D24-8439-4402-B3C4-3BCF0AF3B5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44649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824F9D-01F2-E586-3F2B-5D772450A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C001FDE-4B16-2349-A87A-36AF6DBCA5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8CC066-D7A6-4F70-8C40-6D52D45EF29B}" type="datetimeFigureOut">
              <a:rPr lang="en-US" smtClean="0"/>
              <a:t>2/4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97E9EF-9495-749B-9054-9B131F8011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0CBC12-C95C-A0FE-D1AD-777628B33B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399D24-8439-4402-B3C4-3BCF0AF3B5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26996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1D60F2A-7089-311B-C10C-5139669E7D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8CC066-D7A6-4F70-8C40-6D52D45EF29B}" type="datetimeFigureOut">
              <a:rPr lang="en-US" smtClean="0"/>
              <a:t>2/4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68D24B0-74B9-A0EC-2385-DAC9B44F8B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C95AE5-A8D6-DCA4-B0B3-DD99D3D489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399D24-8439-4402-B3C4-3BCF0AF3B5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61097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CFCB4A-3EAD-AC2A-9D53-2828DEB507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EB3748-DB2A-E806-9F6E-1EAADA9E95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AD5B777-547A-5E7F-3F95-F8247F128A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DF8855-553E-B972-8FEC-2581C1C2C6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8CC066-D7A6-4F70-8C40-6D52D45EF29B}" type="datetimeFigureOut">
              <a:rPr lang="en-US" smtClean="0"/>
              <a:t>2/4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43AB9CB-5D84-AC89-58AD-D22BF665C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FAD944D-9CC4-14EC-09A3-BCF1037C00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399D24-8439-4402-B3C4-3BCF0AF3B5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31180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14E863-C1C0-F6D4-A1AF-F40829B49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ECB67A3-FED1-1BDF-41CF-C6AA0287DEC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D7BFAAA-EDDB-E179-E684-7854F34844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387C054-168C-B5E6-614F-0245942E75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8CC066-D7A6-4F70-8C40-6D52D45EF29B}" type="datetimeFigureOut">
              <a:rPr lang="en-US" smtClean="0"/>
              <a:t>2/4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180D987-510D-8306-229B-94442A12AB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290757B-7331-07DF-C134-674AEFE818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399D24-8439-4402-B3C4-3BCF0AF3B5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30062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BD0964-E7BF-B0C7-D23E-AEE9F51E52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AD79473-ADC5-BDD7-F30C-3F3D709F0B0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A3BEB5-F8FD-1172-80D6-72FB0334F0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8CC066-D7A6-4F70-8C40-6D52D45EF29B}" type="datetimeFigureOut">
              <a:rPr lang="en-US" smtClean="0"/>
              <a:t>2/4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0D3A96-1ACE-C993-6597-A79E6B2A60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C87219-5DBC-99F3-4288-2FFE079E4F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399D24-8439-4402-B3C4-3BCF0AF3B5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2182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E356F4A-630C-568F-4E0B-E8BE0D092DB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A63B227-7C9E-E18C-840E-93CDF77D6E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C7E393-DCF1-3E5D-3206-87E8DD8824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8CC066-D7A6-4F70-8C40-6D52D45EF29B}" type="datetimeFigureOut">
              <a:rPr lang="en-US" smtClean="0"/>
              <a:t>2/4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1AD095-032E-0C0F-17A8-C2DF3C0DE5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AFAFAF-B96C-60BC-F06D-EC7789270F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399D24-8439-4402-B3C4-3BCF0AF3B5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64678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FBCAF6-6E1C-EC21-A23F-AB5664F1BE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0E2E733-6723-84CE-4D18-644CD78AC9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8CC066-D7A6-4F70-8C40-6D52D45EF29B}" type="datetimeFigureOut">
              <a:rPr lang="en-US" smtClean="0"/>
              <a:t>2/4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19EFE9E-E2AA-337F-7133-82C8278AF6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A9D488B-B64F-52FF-97A7-D82E2FB44D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399D24-8439-4402-B3C4-3BCF0AF3B5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188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52BB6B-0555-85E2-060F-0C6B976C21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75982C4-F6C1-24D0-25BE-FB3ECD4932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12FF8F-F1F6-1749-F203-849A167317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C3DD0E-D0A1-440E-9465-45844900CCCD}" type="datetimeFigureOut">
              <a:rPr lang="en-US" smtClean="0"/>
              <a:t>2/4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39A6A3E-F2C2-E0E7-682A-67B9E3F4F0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7D916E-26E2-64F5-71EA-A6F3208617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1FA829-AD86-48E6-9A1A-56574FE847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13504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ttle card 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icture Placeholder 28"/>
          <p:cNvSpPr>
            <a:spLocks noGrp="1"/>
          </p:cNvSpPr>
          <p:nvPr>
            <p:ph type="pic" sz="quarter" idx="13"/>
          </p:nvPr>
        </p:nvSpPr>
        <p:spPr>
          <a:xfrm>
            <a:off x="6292237" y="332207"/>
            <a:ext cx="1308328" cy="942948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059"/>
            </a:lvl1pPr>
          </a:lstStyle>
          <a:p>
            <a:endParaRPr lang="en-US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1C84CC1-84B5-4D26-AEDB-357857ECF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875210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1C84CC1-84B5-4D26-AEDB-357857ECF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C1BFB45-C43D-4713-A656-53090907DA3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2" name="Picture Placeholder 28"/>
          <p:cNvSpPr>
            <a:spLocks noGrp="1"/>
          </p:cNvSpPr>
          <p:nvPr>
            <p:ph type="pic" sz="quarter" idx="36"/>
          </p:nvPr>
        </p:nvSpPr>
        <p:spPr>
          <a:xfrm>
            <a:off x="7695707" y="333019"/>
            <a:ext cx="1308328" cy="942948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059"/>
            </a:lvl1pPr>
          </a:lstStyle>
          <a:p>
            <a:endParaRPr lang="en-US"/>
          </a:p>
        </p:txBody>
      </p:sp>
      <p:sp>
        <p:nvSpPr>
          <p:cNvPr id="33" name="Picture Placeholder 28"/>
          <p:cNvSpPr>
            <a:spLocks noGrp="1"/>
          </p:cNvSpPr>
          <p:nvPr>
            <p:ph type="pic" sz="quarter" idx="37"/>
          </p:nvPr>
        </p:nvSpPr>
        <p:spPr>
          <a:xfrm>
            <a:off x="9099173" y="333019"/>
            <a:ext cx="1308328" cy="942948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059"/>
            </a:lvl1pPr>
          </a:lstStyle>
          <a:p>
            <a:endParaRPr lang="en-US"/>
          </a:p>
        </p:txBody>
      </p:sp>
      <p:sp>
        <p:nvSpPr>
          <p:cNvPr id="35" name="Picture Placeholder 28"/>
          <p:cNvSpPr>
            <a:spLocks noGrp="1"/>
          </p:cNvSpPr>
          <p:nvPr>
            <p:ph type="pic" sz="quarter" idx="38"/>
          </p:nvPr>
        </p:nvSpPr>
        <p:spPr>
          <a:xfrm>
            <a:off x="10502641" y="333019"/>
            <a:ext cx="1308328" cy="942948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059"/>
            </a:lvl1pPr>
          </a:lstStyle>
          <a:p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5E025BD4-E694-94F9-53BB-1BB6C4C1801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15728" y="727752"/>
            <a:ext cx="5781369" cy="389787"/>
          </a:xfrm>
          <a:prstGeom prst="rect">
            <a:avLst/>
          </a:prstGeom>
        </p:spPr>
        <p:txBody>
          <a:bodyPr wrap="square" tIns="182880">
            <a:spAutoFit/>
          </a:bodyPr>
          <a:lstStyle>
            <a:lvl1pPr marL="0" indent="0">
              <a:spcAft>
                <a:spcPts val="0"/>
              </a:spcAft>
              <a:buNone/>
              <a:defRPr sz="1333">
                <a:solidFill>
                  <a:schemeClr val="tx1"/>
                </a:solidFill>
              </a:defRPr>
            </a:lvl1pPr>
            <a:lvl2pPr marL="45719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7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5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4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3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F294EB96-E7F6-F4F7-EFAE-568A04495FF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4092" y="1791933"/>
            <a:ext cx="7570325" cy="240912"/>
          </a:xfrm>
          <a:prstGeom prst="rect">
            <a:avLst/>
          </a:prstGeom>
        </p:spPr>
        <p:txBody>
          <a:bodyPr/>
          <a:lstStyle>
            <a:lvl1pPr>
              <a:defRPr sz="1333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Why </a:t>
            </a:r>
            <a:r>
              <a:rPr lang="en-US" dirty="0" err="1"/>
              <a:t>honeywell</a:t>
            </a:r>
            <a:endParaRPr lang="en-US" dirty="0"/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F000BF81-7B77-E9C4-FF8C-F48E63E98C3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092" y="2098693"/>
            <a:ext cx="7570325" cy="482633"/>
          </a:xfrm>
          <a:prstGeom prst="rect">
            <a:avLst/>
          </a:prstGeom>
        </p:spPr>
        <p:txBody>
          <a:bodyPr/>
          <a:lstStyle>
            <a:lvl1pPr>
              <a:defRPr sz="1059" b="1" baseline="0"/>
            </a:lvl1pPr>
            <a:lvl2pPr marL="0" indent="0">
              <a:buNone/>
              <a:defRPr sz="1200" b="1"/>
            </a:lvl2pPr>
            <a:lvl3pPr>
              <a:defRPr sz="1059" b="0"/>
            </a:lvl3pPr>
            <a:lvl4pPr>
              <a:defRPr sz="1059" b="0"/>
            </a:lvl4pPr>
            <a:lvl5pPr>
              <a:defRPr sz="1059" b="0"/>
            </a:lvl5pPr>
          </a:lstStyle>
          <a:p>
            <a:pPr lvl="1"/>
            <a:r>
              <a:rPr lang="en-US" dirty="0"/>
              <a:t>Edit Master text styles </a:t>
            </a:r>
          </a:p>
        </p:txBody>
      </p:sp>
      <p:sp>
        <p:nvSpPr>
          <p:cNvPr id="9" name="Text Placeholder 21">
            <a:extLst>
              <a:ext uri="{FF2B5EF4-FFF2-40B4-BE49-F238E27FC236}">
                <a16:creationId xmlns:a16="http://schemas.microsoft.com/office/drawing/2014/main" id="{A28ECD1D-23EE-FB03-3172-A0676AC2A0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092" y="2706584"/>
            <a:ext cx="3676488" cy="158037"/>
          </a:xfrm>
          <a:prstGeom prst="rect">
            <a:avLst/>
          </a:prstGeom>
        </p:spPr>
        <p:txBody>
          <a:bodyPr/>
          <a:lstStyle>
            <a:lvl1pPr>
              <a:defRPr sz="1333" cap="all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 sz="795" baseline="0"/>
            </a:lvl2pPr>
            <a:lvl3pPr marL="284157" indent="0">
              <a:buNone/>
              <a:defRPr sz="795"/>
            </a:lvl3pPr>
            <a:lvl4pPr marL="565141" indent="0">
              <a:buNone/>
              <a:defRPr sz="795"/>
            </a:lvl4pPr>
            <a:lvl5pPr marL="792148" indent="0">
              <a:buNone/>
              <a:defRPr sz="795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140ED37-72BA-880E-D157-149C7FFD0802}"/>
              </a:ext>
            </a:extLst>
          </p:cNvPr>
          <p:cNvSpPr/>
          <p:nvPr userDrawn="1"/>
        </p:nvSpPr>
        <p:spPr>
          <a:xfrm>
            <a:off x="8226049" y="1637954"/>
            <a:ext cx="3584921" cy="441369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88" err="1">
              <a:solidFill>
                <a:schemeClr val="tx1"/>
              </a:solidFill>
            </a:endParaRPr>
          </a:p>
        </p:txBody>
      </p:sp>
      <p:sp>
        <p:nvSpPr>
          <p:cNvPr id="11" name="Text Placeholder 27">
            <a:extLst>
              <a:ext uri="{FF2B5EF4-FFF2-40B4-BE49-F238E27FC236}">
                <a16:creationId xmlns:a16="http://schemas.microsoft.com/office/drawing/2014/main" id="{F9A35B7A-79E6-2DED-EDF7-50052A7A0B7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80945" y="1791933"/>
            <a:ext cx="3262647" cy="156883"/>
          </a:xfrm>
          <a:prstGeom prst="rect">
            <a:avLst/>
          </a:prstGeom>
        </p:spPr>
        <p:txBody>
          <a:bodyPr/>
          <a:lstStyle>
            <a:lvl1pPr>
              <a:defRPr sz="1333" cap="all" baseline="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795" b="1">
                <a:solidFill>
                  <a:schemeClr val="bg1"/>
                </a:solidFill>
              </a:defRPr>
            </a:lvl2pPr>
            <a:lvl3pPr marL="284157" indent="0">
              <a:buNone/>
              <a:defRPr>
                <a:solidFill>
                  <a:schemeClr val="bg1"/>
                </a:solidFill>
              </a:defRPr>
            </a:lvl3pPr>
            <a:lvl4pPr marL="565141" indent="0">
              <a:buNone/>
              <a:defRPr sz="795">
                <a:solidFill>
                  <a:schemeClr val="bg1"/>
                </a:solidFill>
              </a:defRPr>
            </a:lvl4pPr>
            <a:lvl5pPr marL="792148" indent="0">
              <a:buNone/>
              <a:defRPr sz="795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OVERVIEW </a:t>
            </a:r>
          </a:p>
        </p:txBody>
      </p:sp>
      <p:sp>
        <p:nvSpPr>
          <p:cNvPr id="12" name="Text Placeholder 30">
            <a:extLst>
              <a:ext uri="{FF2B5EF4-FFF2-40B4-BE49-F238E27FC236}">
                <a16:creationId xmlns:a16="http://schemas.microsoft.com/office/drawing/2014/main" id="{35237438-13C8-F96E-BFDC-25A2260AD92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80945" y="2098692"/>
            <a:ext cx="3262647" cy="12896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3pPr marL="284157" marR="0" indent="0" algn="l" defTabSz="9143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795">
                <a:solidFill>
                  <a:schemeClr val="bg1"/>
                </a:solidFill>
              </a:defRPr>
            </a:lvl3pPr>
            <a:lvl4pPr marL="742936" indent="-177797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974708" indent="-182558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FF3202DA-6004-A93E-25F2-81FF3484944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297929" y="2706584"/>
            <a:ext cx="3676488" cy="158037"/>
          </a:xfrm>
          <a:prstGeom prst="rect">
            <a:avLst/>
          </a:prstGeom>
        </p:spPr>
        <p:txBody>
          <a:bodyPr/>
          <a:lstStyle>
            <a:lvl1pPr>
              <a:defRPr sz="1333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795" b="1" baseline="0"/>
            </a:lvl2pPr>
            <a:lvl3pPr marL="284157" indent="0">
              <a:buNone/>
              <a:defRPr sz="795"/>
            </a:lvl3pPr>
            <a:lvl4pPr marL="565141" indent="0">
              <a:buNone/>
              <a:defRPr sz="795"/>
            </a:lvl4pPr>
            <a:lvl5pPr marL="792148" indent="0">
              <a:buNone/>
              <a:defRPr sz="795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30">
            <a:extLst>
              <a:ext uri="{FF2B5EF4-FFF2-40B4-BE49-F238E27FC236}">
                <a16:creationId xmlns:a16="http://schemas.microsoft.com/office/drawing/2014/main" id="{B6E56FD0-E59C-8D96-E881-8E2C68E5846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80945" y="3994169"/>
            <a:ext cx="3262647" cy="143323"/>
          </a:xfrm>
          <a:prstGeom prst="rect">
            <a:avLst/>
          </a:prstGeom>
        </p:spPr>
        <p:txBody>
          <a:bodyPr/>
          <a:lstStyle>
            <a:lvl1pPr>
              <a:defRPr sz="1333" cap="all" baseline="0">
                <a:solidFill>
                  <a:schemeClr val="bg1"/>
                </a:solidFill>
                <a:latin typeface="+mj-lt"/>
              </a:defRPr>
            </a:lvl1pPr>
            <a:lvl3pPr marL="284157" marR="0" indent="0" algn="l" defTabSz="9143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795">
                <a:solidFill>
                  <a:schemeClr val="bg1"/>
                </a:solidFill>
              </a:defRPr>
            </a:lvl3pPr>
            <a:lvl4pPr marL="742936" indent="-177797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974708" indent="-182558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dustry application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94696AB5-B520-F5D8-BE56-9140E6DB4BD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03701" y="2975300"/>
            <a:ext cx="3677291" cy="1238856"/>
          </a:xfrm>
          <a:prstGeom prst="rect">
            <a:avLst/>
          </a:prstGeom>
        </p:spPr>
        <p:txBody>
          <a:bodyPr/>
          <a:lstStyle>
            <a:lvl1pPr>
              <a:defRPr sz="795" b="0"/>
            </a:lvl1pPr>
            <a:lvl2pPr>
              <a:defRPr sz="795" b="0"/>
            </a:lvl2pPr>
            <a:lvl3pPr>
              <a:defRPr sz="795" b="0"/>
            </a:lvl3pPr>
            <a:lvl4pPr marL="0" indent="0">
              <a:spcAft>
                <a:spcPts val="529"/>
              </a:spcAft>
              <a:buNone/>
              <a:defRPr sz="1200" b="0"/>
            </a:lvl4pPr>
            <a:lvl5pPr>
              <a:defRPr sz="795" b="0"/>
            </a:lvl5pPr>
          </a:lstStyle>
          <a:p>
            <a:pPr lvl="3"/>
            <a:r>
              <a:rPr lang="en-US" dirty="0"/>
              <a:t>Edit Master text styles</a:t>
            </a:r>
          </a:p>
        </p:txBody>
      </p:sp>
      <p:sp>
        <p:nvSpPr>
          <p:cNvPr id="16" name="Text Placeholder 45">
            <a:extLst>
              <a:ext uri="{FF2B5EF4-FFF2-40B4-BE49-F238E27FC236}">
                <a16:creationId xmlns:a16="http://schemas.microsoft.com/office/drawing/2014/main" id="{EBD00022-A032-64EC-6B34-098DA0B8AC23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299121" y="2976669"/>
            <a:ext cx="3675296" cy="1238856"/>
          </a:xfrm>
          <a:prstGeom prst="rect">
            <a:avLst/>
          </a:prstGeom>
        </p:spPr>
        <p:txBody>
          <a:bodyPr/>
          <a:lstStyle>
            <a:lvl1pPr>
              <a:defRPr sz="795" b="0"/>
            </a:lvl1pPr>
            <a:lvl2pPr>
              <a:defRPr sz="795" b="0"/>
            </a:lvl2pPr>
            <a:lvl3pPr>
              <a:defRPr sz="795" b="0"/>
            </a:lvl3pPr>
            <a:lvl4pPr marL="0" indent="0">
              <a:spcAft>
                <a:spcPts val="529"/>
              </a:spcAft>
              <a:buNone/>
              <a:defRPr sz="1200" b="0"/>
            </a:lvl4pPr>
            <a:lvl5pPr>
              <a:defRPr sz="795" b="0"/>
            </a:lvl5pPr>
          </a:lstStyle>
          <a:p>
            <a:pPr lvl="3"/>
            <a:r>
              <a:rPr lang="en-US"/>
              <a:t>Edit Master text styles</a:t>
            </a:r>
          </a:p>
        </p:txBody>
      </p:sp>
      <p:sp>
        <p:nvSpPr>
          <p:cNvPr id="17" name="Text Placeholder 47">
            <a:extLst>
              <a:ext uri="{FF2B5EF4-FFF2-40B4-BE49-F238E27FC236}">
                <a16:creationId xmlns:a16="http://schemas.microsoft.com/office/drawing/2014/main" id="{2D1324C5-3E9F-AC44-2705-A262EB27F42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80945" y="2326772"/>
            <a:ext cx="3262647" cy="152065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95" b="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84157" indent="0">
              <a:buNone/>
              <a:defRPr/>
            </a:lvl3pPr>
            <a:lvl4pPr marL="0" indent="0">
              <a:spcAft>
                <a:spcPts val="529"/>
              </a:spcAft>
              <a:buNone/>
              <a:defRPr sz="1200">
                <a:solidFill>
                  <a:schemeClr val="bg1"/>
                </a:solidFill>
              </a:defRPr>
            </a:lvl4pPr>
            <a:lvl5pPr marL="792148" indent="0">
              <a:buNone/>
              <a:defRPr/>
            </a:lvl5pPr>
          </a:lstStyle>
          <a:p>
            <a:pPr lvl="3"/>
            <a:r>
              <a:rPr lang="en-US" dirty="0"/>
              <a:t>Body text</a:t>
            </a:r>
          </a:p>
        </p:txBody>
      </p:sp>
      <p:sp>
        <p:nvSpPr>
          <p:cNvPr id="18" name="Text Placeholder 49">
            <a:extLst>
              <a:ext uri="{FF2B5EF4-FFF2-40B4-BE49-F238E27FC236}">
                <a16:creationId xmlns:a16="http://schemas.microsoft.com/office/drawing/2014/main" id="{AB083094-6099-F475-D947-9D750020EE2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380945" y="4253769"/>
            <a:ext cx="3262647" cy="1672111"/>
          </a:xfrm>
          <a:prstGeom prst="rect">
            <a:avLst/>
          </a:prstGeom>
        </p:spPr>
        <p:txBody>
          <a:bodyPr/>
          <a:lstStyle>
            <a:lvl1pPr marL="151284" indent="-151284">
              <a:buFont typeface="Arial" panose="020B0604020202020204" pitchFamily="34" charset="0"/>
              <a:buChar char="•"/>
              <a:defRPr sz="795" baseline="0">
                <a:solidFill>
                  <a:schemeClr val="bg1"/>
                </a:solidFill>
              </a:defRPr>
            </a:lvl1pPr>
            <a:lvl4pPr marL="0" indent="-151284">
              <a:spcAft>
                <a:spcPts val="529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200" b="0">
                <a:solidFill>
                  <a:schemeClr val="bg1"/>
                </a:solidFill>
              </a:defRPr>
            </a:lvl4pPr>
          </a:lstStyle>
          <a:p>
            <a:pPr lvl="3"/>
            <a:r>
              <a:rPr lang="en-US" dirty="0"/>
              <a:t>Body list</a:t>
            </a:r>
          </a:p>
          <a:p>
            <a:pPr lvl="3"/>
            <a:endParaRPr lang="en-US" dirty="0"/>
          </a:p>
        </p:txBody>
      </p:sp>
      <p:sp>
        <p:nvSpPr>
          <p:cNvPr id="19" name="Text Placeholder 21">
            <a:extLst>
              <a:ext uri="{FF2B5EF4-FFF2-40B4-BE49-F238E27FC236}">
                <a16:creationId xmlns:a16="http://schemas.microsoft.com/office/drawing/2014/main" id="{F2D98F74-EB0F-DF47-6A35-6A1A20F51D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15728" y="4357008"/>
            <a:ext cx="3676488" cy="158037"/>
          </a:xfrm>
          <a:prstGeom prst="rect">
            <a:avLst/>
          </a:prstGeom>
        </p:spPr>
        <p:txBody>
          <a:bodyPr/>
          <a:lstStyle>
            <a:lvl1pPr>
              <a:defRPr sz="1333" cap="all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 sz="795" baseline="0"/>
            </a:lvl2pPr>
            <a:lvl3pPr marL="284157" indent="0">
              <a:buNone/>
              <a:defRPr sz="795"/>
            </a:lvl3pPr>
            <a:lvl4pPr marL="565141" indent="0">
              <a:buNone/>
              <a:defRPr sz="795"/>
            </a:lvl4pPr>
            <a:lvl5pPr marL="792148" indent="0">
              <a:buNone/>
              <a:defRPr sz="795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43">
            <a:extLst>
              <a:ext uri="{FF2B5EF4-FFF2-40B4-BE49-F238E27FC236}">
                <a16:creationId xmlns:a16="http://schemas.microsoft.com/office/drawing/2014/main" id="{5C3BDBAF-8AC3-1154-17D8-C1C82DCEC495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15727" y="4644969"/>
            <a:ext cx="3677291" cy="1396428"/>
          </a:xfrm>
          <a:prstGeom prst="rect">
            <a:avLst/>
          </a:prstGeom>
        </p:spPr>
        <p:txBody>
          <a:bodyPr/>
          <a:lstStyle>
            <a:lvl1pPr>
              <a:defRPr sz="795" b="0"/>
            </a:lvl1pPr>
            <a:lvl2pPr>
              <a:defRPr sz="795" b="0"/>
            </a:lvl2pPr>
            <a:lvl3pPr>
              <a:defRPr sz="795" b="0"/>
            </a:lvl3pPr>
            <a:lvl4pPr marL="0" indent="0">
              <a:spcAft>
                <a:spcPts val="529"/>
              </a:spcAft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sz="795" b="0"/>
            </a:lvl5pPr>
          </a:lstStyle>
          <a:p>
            <a:pPr lvl="3"/>
            <a:r>
              <a:rPr lang="en-US"/>
              <a:t>Edit Master text styles</a:t>
            </a:r>
          </a:p>
        </p:txBody>
      </p:sp>
      <p:sp>
        <p:nvSpPr>
          <p:cNvPr id="21" name="Text Placeholder 45">
            <a:extLst>
              <a:ext uri="{FF2B5EF4-FFF2-40B4-BE49-F238E27FC236}">
                <a16:creationId xmlns:a16="http://schemas.microsoft.com/office/drawing/2014/main" id="{14B23703-797A-8055-5A57-AFFA8346D82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299121" y="4644969"/>
            <a:ext cx="3675296" cy="1396428"/>
          </a:xfrm>
          <a:prstGeom prst="rect">
            <a:avLst/>
          </a:prstGeom>
        </p:spPr>
        <p:txBody>
          <a:bodyPr/>
          <a:lstStyle>
            <a:lvl1pPr>
              <a:defRPr sz="795" b="0"/>
            </a:lvl1pPr>
            <a:lvl2pPr>
              <a:defRPr sz="795" b="0"/>
            </a:lvl2pPr>
            <a:lvl3pPr>
              <a:defRPr sz="795" b="0"/>
            </a:lvl3pPr>
            <a:lvl4pPr marL="0" indent="-151284">
              <a:spcAft>
                <a:spcPts val="353"/>
              </a:spcAft>
              <a:buFont typeface="Arial" panose="020B0604020202020204" pitchFamily="34" charset="0"/>
              <a:buChar char="•"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43432" indent="-151284">
              <a:buFont typeface="Arial" panose="020B0604020202020204" pitchFamily="34" charset="0"/>
              <a:buChar char="•"/>
              <a:defRPr sz="795" b="0"/>
            </a:lvl5pPr>
          </a:lstStyle>
          <a:p>
            <a:pPr lvl="3"/>
            <a:r>
              <a:rPr lang="en-US"/>
              <a:t>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856FDF96-1CDC-3089-E94B-9F61341824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3862" y="261882"/>
            <a:ext cx="5815004" cy="434564"/>
          </a:xfrm>
        </p:spPr>
        <p:txBody>
          <a:bodyPr wrap="square" tIns="0" anchor="t">
            <a:spAutoFit/>
          </a:bodyPr>
          <a:lstStyle>
            <a:lvl1pPr>
              <a:lnSpc>
                <a:spcPct val="100000"/>
              </a:lnSpc>
              <a:defRPr sz="2824" b="0" cap="all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roduct / Software name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A804288F-A5C7-5E65-88D2-3885690EB597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297929" y="4357008"/>
            <a:ext cx="3676488" cy="158037"/>
          </a:xfrm>
          <a:prstGeom prst="rect">
            <a:avLst/>
          </a:prstGeom>
        </p:spPr>
        <p:txBody>
          <a:bodyPr/>
          <a:lstStyle>
            <a:lvl1pPr>
              <a:defRPr sz="1333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795" b="1" baseline="0"/>
            </a:lvl2pPr>
            <a:lvl3pPr marL="284157" indent="0">
              <a:buNone/>
              <a:defRPr sz="795"/>
            </a:lvl3pPr>
            <a:lvl4pPr marL="565141" indent="0">
              <a:buNone/>
              <a:defRPr sz="795"/>
            </a:lvl4pPr>
            <a:lvl5pPr marL="792148" indent="0">
              <a:buNone/>
              <a:defRPr sz="795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BA7FB554-7746-EC5A-8656-A90BBC722ED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859387" y="6551224"/>
            <a:ext cx="951583" cy="174157"/>
          </a:xfrm>
          <a:prstGeom prst="rect">
            <a:avLst/>
          </a:prstGeom>
        </p:spPr>
      </p:pic>
      <p:sp>
        <p:nvSpPr>
          <p:cNvPr id="3" name="Rectangle 23">
            <a:extLst>
              <a:ext uri="{FF2B5EF4-FFF2-40B4-BE49-F238E27FC236}">
                <a16:creationId xmlns:a16="http://schemas.microsoft.com/office/drawing/2014/main" id="{A0D921CA-8672-093C-CF2B-A8067D68E4C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149247" y="6492126"/>
            <a:ext cx="6243648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en-US" sz="667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© 2025 Honeywell International Inc. </a:t>
            </a:r>
            <a:r>
              <a:rPr lang="en-US" altLang="en-US" sz="667" b="1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Internal Only</a:t>
            </a:r>
            <a:r>
              <a:rPr lang="en-US" altLang="en-US" sz="667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. Neither this document nor the information contained herein may be reproduced, used, distributed or disclosed to others without the written consent of Honeywell</a:t>
            </a:r>
          </a:p>
        </p:txBody>
      </p:sp>
    </p:spTree>
    <p:extLst>
      <p:ext uri="{BB962C8B-B14F-4D97-AF65-F5344CB8AC3E}">
        <p14:creationId xmlns:p14="http://schemas.microsoft.com/office/powerpoint/2010/main" val="729200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12">
          <p15:clr>
            <a:srgbClr val="FBAE40"/>
          </p15:clr>
        </p15:guide>
        <p15:guide id="2" pos="4194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169D71-77CC-DDF9-C2C9-7917B37328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4EA81E-61E7-F984-C33E-82684F8BCF3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D39184F-7146-F6B8-F707-44EFCE0798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C3DD0E-D0A1-440E-9465-45844900CCCD}" type="datetimeFigureOut">
              <a:rPr lang="en-US" smtClean="0"/>
              <a:t>2/4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4F720C-A155-DDCE-2E62-EECFBBE613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30619D-7E28-63AB-5017-39F07B2EF8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1FA829-AD86-48E6-9A1A-56574FE847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23523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286A9-1779-B06B-8FCF-C41D3525F5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32A25B9-F2C6-CCA6-BE8B-B58D109B21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C3D83F-4F59-F0CB-FCAB-F41F82A71A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C3DD0E-D0A1-440E-9465-45844900CCCD}" type="datetimeFigureOut">
              <a:rPr lang="en-US" smtClean="0"/>
              <a:t>2/4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C8DF4-8BD0-F620-2E62-86782551A9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35DB1E-C3AB-10B8-6E25-5C68B43BD9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1FA829-AD86-48E6-9A1A-56574FE847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933360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C8FA0F-3D04-2DBC-AE3D-5FAB1CD1EA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0B28BC-0132-D0A9-EC7C-82E3143FF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23D225-880C-A787-A589-8B8211F3079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F82A49E-4F29-BEBF-3C1E-93BA090299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C3DD0E-D0A1-440E-9465-45844900CCCD}" type="datetimeFigureOut">
              <a:rPr lang="en-US" smtClean="0"/>
              <a:t>2/4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0715AF-1B4F-E801-2E6B-721E139C5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B9F3AB9-2EEC-9DE4-13F0-A3AA378A5A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1FA829-AD86-48E6-9A1A-56574FE847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399990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9B31C7-E112-4A1E-B14F-5EE3A358CE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2A24CA-5163-045C-97D0-B95B96B40C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583EE42-358B-2099-9A84-4EEF50C4D0B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F76F812-11AB-29C1-4147-DF5474853C3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1E60F7F-33FF-8902-B9F2-7D7464437B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E55EE30-0BE7-3081-7CDA-516ADDCF57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C3DD0E-D0A1-440E-9465-45844900CCCD}" type="datetimeFigureOut">
              <a:rPr lang="en-US" smtClean="0"/>
              <a:t>2/4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97780CD-047F-BE74-3818-B5A4FF19E0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4F27994-8DAA-B61B-7AC0-FC9C40E427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1FA829-AD86-48E6-9A1A-56574FE847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96018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94D5E7-D23F-BDB8-4C16-E912C74986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69B7DE1-C8C1-3993-93C0-4A834E405D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C3DD0E-D0A1-440E-9465-45844900CCCD}" type="datetimeFigureOut">
              <a:rPr lang="en-US" smtClean="0"/>
              <a:t>2/4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DF1796-EA25-7ABA-1F63-AF0603A2E4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6990C13-5767-81B3-F172-0CD2C3818A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1FA829-AD86-48E6-9A1A-56574FE847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45664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02EFE81-68F0-12E9-346D-CE40018B39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C3DD0E-D0A1-440E-9465-45844900CCCD}" type="datetimeFigureOut">
              <a:rPr lang="en-US" smtClean="0"/>
              <a:t>2/4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27B3EF4-25FB-AB5B-CDD4-44509B2162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07C53E-F1B0-CE11-411D-DA9E46988F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1FA829-AD86-48E6-9A1A-56574FE847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29191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450FBF-8AD6-0A04-B3FF-502D0B898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EAC6AD-A3A3-B364-564C-4C8853E800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3468896-3F91-7EF7-A933-DB6041E8B64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8DBD450-E69E-B07D-2309-B7F595E31D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C3DD0E-D0A1-440E-9465-45844900CCCD}" type="datetimeFigureOut">
              <a:rPr lang="en-US" smtClean="0"/>
              <a:t>2/4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3FAF8E0-E58C-9AF5-41C1-50D0C84C18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F664DAD-5B5F-3633-64FD-3400E6A876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1FA829-AD86-48E6-9A1A-56574FE847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510160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D2929-C658-1A14-508F-1BF4EAEFE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D44A55C-703E-D22D-C24D-6F5E2650F1C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5F2E19-490E-5149-59CD-BDACD4803AA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D136F3F-E40D-A674-B3B1-74EDF2B992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C3DD0E-D0A1-440E-9465-45844900CCCD}" type="datetimeFigureOut">
              <a:rPr lang="en-US" smtClean="0"/>
              <a:t>2/4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20607C5-5D34-38AD-B948-EDE030FF22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0089191-4E7D-9AA0-0374-EF30014D06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1FA829-AD86-48E6-9A1A-56574FE847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402789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CEC0D9-CAC3-F496-A0FF-BCA8FB2256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F7E2E4A-D349-72A8-40C0-C26675C97F9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A4B8ADC-DFED-3878-4496-9B817B46A8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C3DD0E-D0A1-440E-9465-45844900CCCD}" type="datetimeFigureOut">
              <a:rPr lang="en-US" smtClean="0"/>
              <a:t>2/4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6762A5-4D1A-9AC5-7D47-ABF99FF73E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67D70F-7902-3FF3-E357-E1B6D433D8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1FA829-AD86-48E6-9A1A-56574FE847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882925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FD0273E-D4D6-2F6E-00FE-E1110EB0A5B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F2AE10-3D9C-3F9B-5163-4629D35AA4E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6EEC02-CE94-72E6-0129-D2DA4792DC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C3DD0E-D0A1-440E-9465-45844900CCCD}" type="datetimeFigureOut">
              <a:rPr lang="en-US" smtClean="0"/>
              <a:t>2/4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BF04C4-EBF4-B1A3-6E36-48AAC96A72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4094B4-A1FE-4D1C-8D74-68E72CD18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1FA829-AD86-48E6-9A1A-56574FE847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7801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Diferentian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D926425-8E0A-4F19-95F9-2CCCC40F83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9658660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D926425-8E0A-4F19-95F9-2CCCC40F83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4E27FC-0EBE-49F1-BF4C-F70FB47B78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36" hasCustomPrompt="1"/>
          </p:nvPr>
        </p:nvSpPr>
        <p:spPr>
          <a:xfrm>
            <a:off x="462496" y="2270440"/>
            <a:ext cx="1245221" cy="749393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7" name="Picture Placeholder 25"/>
          <p:cNvSpPr>
            <a:spLocks noGrp="1"/>
          </p:cNvSpPr>
          <p:nvPr>
            <p:ph type="pic" sz="quarter" idx="37" hasCustomPrompt="1"/>
          </p:nvPr>
        </p:nvSpPr>
        <p:spPr>
          <a:xfrm>
            <a:off x="1776276" y="2270440"/>
            <a:ext cx="1245221" cy="749393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8" name="Picture Placeholder 25"/>
          <p:cNvSpPr>
            <a:spLocks noGrp="1"/>
          </p:cNvSpPr>
          <p:nvPr>
            <p:ph type="pic" sz="quarter" idx="38" hasCustomPrompt="1"/>
          </p:nvPr>
        </p:nvSpPr>
        <p:spPr>
          <a:xfrm>
            <a:off x="3090059" y="2270440"/>
            <a:ext cx="1245221" cy="749393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9" name="Picture Placeholder 25"/>
          <p:cNvSpPr>
            <a:spLocks noGrp="1"/>
          </p:cNvSpPr>
          <p:nvPr>
            <p:ph type="pic" sz="quarter" idx="39" hasCustomPrompt="1"/>
          </p:nvPr>
        </p:nvSpPr>
        <p:spPr>
          <a:xfrm>
            <a:off x="4403840" y="2270440"/>
            <a:ext cx="1245221" cy="749393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0" name="Picture Placeholder 25"/>
          <p:cNvSpPr>
            <a:spLocks noGrp="1"/>
          </p:cNvSpPr>
          <p:nvPr>
            <p:ph type="pic" sz="quarter" idx="40" hasCustomPrompt="1"/>
          </p:nvPr>
        </p:nvSpPr>
        <p:spPr>
          <a:xfrm>
            <a:off x="5717623" y="2270440"/>
            <a:ext cx="1245221" cy="749393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B795F16F-AC3C-5D67-E9F9-101DEAC8C7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3863" y="261882"/>
            <a:ext cx="3077555" cy="434564"/>
          </a:xfrm>
        </p:spPr>
        <p:txBody>
          <a:bodyPr wrap="square" tIns="0" anchor="t">
            <a:spAutoFit/>
          </a:bodyPr>
          <a:lstStyle>
            <a:lvl1pPr>
              <a:lnSpc>
                <a:spcPct val="100000"/>
              </a:lnSpc>
              <a:defRPr sz="2824" b="0" cap="all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 to head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917EBCD8-B422-640F-A1C4-5CDBEE98528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15728" y="727752"/>
            <a:ext cx="3077555" cy="389787"/>
          </a:xfrm>
          <a:prstGeom prst="rect">
            <a:avLst/>
          </a:prstGeom>
        </p:spPr>
        <p:txBody>
          <a:bodyPr wrap="square" tIns="182880">
            <a:spAutoFit/>
          </a:bodyPr>
          <a:lstStyle>
            <a:lvl1pPr marL="0" indent="0">
              <a:spcAft>
                <a:spcPts val="0"/>
              </a:spcAft>
              <a:buNone/>
              <a:defRPr sz="1333">
                <a:solidFill>
                  <a:schemeClr val="tx1"/>
                </a:solidFill>
              </a:defRPr>
            </a:lvl1pPr>
            <a:lvl2pPr marL="45719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7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5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4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3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Highlights</a:t>
            </a:r>
          </a:p>
        </p:txBody>
      </p:sp>
    </p:spTree>
    <p:extLst>
      <p:ext uri="{BB962C8B-B14F-4D97-AF65-F5344CB8AC3E}">
        <p14:creationId xmlns:p14="http://schemas.microsoft.com/office/powerpoint/2010/main" val="2817804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72">
          <p15:clr>
            <a:srgbClr val="FBAE40"/>
          </p15:clr>
        </p15:guide>
        <p15:guide id="3" pos="298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Diferentiator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D926425-8E0A-4F19-95F9-2CCCC40F83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072775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D926425-8E0A-4F19-95F9-2CCCC40F83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4E27FC-0EBE-49F1-BF4C-F70FB47B78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03861" y="261882"/>
            <a:ext cx="4955136" cy="434991"/>
          </a:xfrm>
        </p:spPr>
        <p:txBody>
          <a:bodyPr wrap="square" tIns="0" anchor="t">
            <a:spAutoFit/>
          </a:bodyPr>
          <a:lstStyle>
            <a:lvl1pPr>
              <a:lnSpc>
                <a:spcPct val="100000"/>
              </a:lnSpc>
              <a:defRPr sz="2827" b="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Key Differentiators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415728" y="3526735"/>
            <a:ext cx="7297112" cy="295746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88" err="1">
              <a:solidFill>
                <a:schemeClr val="tx1"/>
              </a:solidFill>
            </a:endParaRPr>
          </a:p>
        </p:txBody>
      </p:sp>
      <p:sp>
        <p:nvSpPr>
          <p:cNvPr id="11" name="Text Placeholder 30"/>
          <p:cNvSpPr>
            <a:spLocks noGrp="1"/>
          </p:cNvSpPr>
          <p:nvPr>
            <p:ph type="body" sz="quarter" idx="21" hasCustomPrompt="1"/>
          </p:nvPr>
        </p:nvSpPr>
        <p:spPr>
          <a:xfrm>
            <a:off x="632833" y="3673908"/>
            <a:ext cx="3252156" cy="187859"/>
          </a:xfrm>
          <a:prstGeom prst="rect">
            <a:avLst/>
          </a:prstGeom>
        </p:spPr>
        <p:txBody>
          <a:bodyPr/>
          <a:lstStyle>
            <a:lvl1pPr>
              <a:defRPr sz="1059" baseline="0">
                <a:solidFill>
                  <a:schemeClr val="bg1"/>
                </a:solidFill>
              </a:defRPr>
            </a:lvl1pPr>
            <a:lvl3pPr marL="284157" marR="0" indent="0" algn="l" defTabSz="9143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795">
                <a:solidFill>
                  <a:schemeClr val="bg1"/>
                </a:solidFill>
              </a:defRPr>
            </a:lvl3pPr>
            <a:lvl4pPr marL="742936" indent="-177797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974708" indent="-182558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What is new?</a:t>
            </a:r>
          </a:p>
        </p:txBody>
      </p:sp>
      <p:sp>
        <p:nvSpPr>
          <p:cNvPr id="13" name="Text Placeholder 47"/>
          <p:cNvSpPr>
            <a:spLocks noGrp="1"/>
          </p:cNvSpPr>
          <p:nvPr>
            <p:ph type="body" sz="quarter" idx="30" hasCustomPrompt="1"/>
          </p:nvPr>
        </p:nvSpPr>
        <p:spPr>
          <a:xfrm>
            <a:off x="632833" y="3914488"/>
            <a:ext cx="3252156" cy="2440288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95" b="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84157" indent="0">
              <a:buNone/>
              <a:defRPr/>
            </a:lvl3pPr>
            <a:lvl4pPr marL="565141" indent="0">
              <a:buNone/>
              <a:defRPr/>
            </a:lvl4pPr>
            <a:lvl5pPr marL="792148" indent="0">
              <a:buNone/>
              <a:defRPr/>
            </a:lvl5pPr>
          </a:lstStyle>
          <a:p>
            <a:pPr lvl="0"/>
            <a:r>
              <a:rPr lang="en-US"/>
              <a:t>Body text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403860" y="726129"/>
            <a:ext cx="7308747" cy="482633"/>
          </a:xfrm>
          <a:prstGeom prst="rect">
            <a:avLst/>
          </a:prstGeom>
        </p:spPr>
        <p:txBody>
          <a:bodyPr/>
          <a:lstStyle>
            <a:lvl1pPr>
              <a:defRPr sz="1333" b="1" baseline="0"/>
            </a:lvl1pPr>
            <a:lvl2pPr>
              <a:defRPr sz="1059" b="0"/>
            </a:lvl2pPr>
            <a:lvl3pPr>
              <a:defRPr sz="1059" b="0"/>
            </a:lvl3pPr>
            <a:lvl4pPr>
              <a:defRPr sz="1059" b="0"/>
            </a:lvl4pPr>
            <a:lvl5pPr>
              <a:defRPr sz="1059" b="0"/>
            </a:lvl5pPr>
          </a:lstStyle>
          <a:p>
            <a:pPr lvl="0"/>
            <a:r>
              <a:rPr lang="en-US" dirty="0"/>
              <a:t>Edit master text styles </a:t>
            </a:r>
          </a:p>
        </p:txBody>
      </p:sp>
      <p:sp>
        <p:nvSpPr>
          <p:cNvPr id="41" name="Text Placeholder 30"/>
          <p:cNvSpPr>
            <a:spLocks noGrp="1"/>
          </p:cNvSpPr>
          <p:nvPr>
            <p:ph type="body" sz="quarter" idx="32" hasCustomPrompt="1"/>
          </p:nvPr>
        </p:nvSpPr>
        <p:spPr>
          <a:xfrm>
            <a:off x="4102091" y="3679411"/>
            <a:ext cx="3379831" cy="176852"/>
          </a:xfrm>
          <a:prstGeom prst="rect">
            <a:avLst/>
          </a:prstGeom>
        </p:spPr>
        <p:txBody>
          <a:bodyPr/>
          <a:lstStyle>
            <a:lvl1pPr>
              <a:defRPr sz="1059">
                <a:solidFill>
                  <a:schemeClr val="bg1"/>
                </a:solidFill>
              </a:defRPr>
            </a:lvl1pPr>
            <a:lvl3pPr marL="284157" marR="0" indent="0" algn="l" defTabSz="9143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795">
                <a:solidFill>
                  <a:schemeClr val="bg1"/>
                </a:solidFill>
              </a:defRPr>
            </a:lvl3pPr>
            <a:lvl4pPr marL="742936" indent="-177797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974708" indent="-182558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ccessories</a:t>
            </a:r>
          </a:p>
        </p:txBody>
      </p:sp>
      <p:sp>
        <p:nvSpPr>
          <p:cNvPr id="45" name="Text Placeholder 30"/>
          <p:cNvSpPr>
            <a:spLocks noGrp="1"/>
          </p:cNvSpPr>
          <p:nvPr>
            <p:ph type="body" sz="quarter" idx="36" hasCustomPrompt="1"/>
          </p:nvPr>
        </p:nvSpPr>
        <p:spPr>
          <a:xfrm>
            <a:off x="4102091" y="5205909"/>
            <a:ext cx="3379831" cy="176852"/>
          </a:xfrm>
          <a:prstGeom prst="rect">
            <a:avLst/>
          </a:prstGeom>
        </p:spPr>
        <p:txBody>
          <a:bodyPr/>
          <a:lstStyle>
            <a:lvl1pPr>
              <a:defRPr sz="1059" baseline="0">
                <a:solidFill>
                  <a:schemeClr val="bg1"/>
                </a:solidFill>
              </a:defRPr>
            </a:lvl1pPr>
            <a:lvl3pPr marL="284157" marR="0" indent="0" algn="l" defTabSz="9143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795">
                <a:solidFill>
                  <a:schemeClr val="bg1"/>
                </a:solidFill>
              </a:defRPr>
            </a:lvl3pPr>
            <a:lvl4pPr marL="742936" indent="-177797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974708" indent="-182558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Key accessories include:</a:t>
            </a:r>
          </a:p>
        </p:txBody>
      </p:sp>
      <p:sp>
        <p:nvSpPr>
          <p:cNvPr id="46" name="Text Placeholder 49"/>
          <p:cNvSpPr>
            <a:spLocks noGrp="1"/>
          </p:cNvSpPr>
          <p:nvPr>
            <p:ph type="body" sz="quarter" idx="37" hasCustomPrompt="1"/>
          </p:nvPr>
        </p:nvSpPr>
        <p:spPr>
          <a:xfrm>
            <a:off x="4124681" y="5430100"/>
            <a:ext cx="1571921" cy="920704"/>
          </a:xfrm>
          <a:prstGeom prst="rect">
            <a:avLst/>
          </a:prstGeom>
        </p:spPr>
        <p:txBody>
          <a:bodyPr/>
          <a:lstStyle>
            <a:lvl1pPr marL="151284" indent="-151284">
              <a:buFont typeface="Arial" panose="020B0604020202020204" pitchFamily="34" charset="0"/>
              <a:buChar char="•"/>
              <a:defRPr sz="795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Body list</a:t>
            </a:r>
          </a:p>
          <a:p>
            <a:pPr lvl="0"/>
            <a:r>
              <a:rPr lang="en-US"/>
              <a:t>Body list</a:t>
            </a:r>
          </a:p>
        </p:txBody>
      </p:sp>
      <p:sp>
        <p:nvSpPr>
          <p:cNvPr id="47" name="Text Placeholder 47"/>
          <p:cNvSpPr>
            <a:spLocks noGrp="1"/>
          </p:cNvSpPr>
          <p:nvPr>
            <p:ph type="body" sz="quarter" idx="38" hasCustomPrompt="1"/>
          </p:nvPr>
        </p:nvSpPr>
        <p:spPr>
          <a:xfrm>
            <a:off x="4102093" y="3914492"/>
            <a:ext cx="3379831" cy="124408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95" b="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84157" indent="0">
              <a:buNone/>
              <a:defRPr/>
            </a:lvl3pPr>
            <a:lvl4pPr marL="565141" indent="0">
              <a:buNone/>
              <a:defRPr/>
            </a:lvl4pPr>
            <a:lvl5pPr marL="792148" indent="0">
              <a:buNone/>
              <a:defRPr/>
            </a:lvl5pPr>
          </a:lstStyle>
          <a:p>
            <a:pPr lvl="0"/>
            <a:r>
              <a:rPr lang="en-US"/>
              <a:t>Body text</a:t>
            </a:r>
          </a:p>
        </p:txBody>
      </p:sp>
      <p:sp>
        <p:nvSpPr>
          <p:cNvPr id="48" name="Text Placeholder 49"/>
          <p:cNvSpPr>
            <a:spLocks noGrp="1"/>
          </p:cNvSpPr>
          <p:nvPr>
            <p:ph type="body" sz="quarter" idx="39" hasCustomPrompt="1"/>
          </p:nvPr>
        </p:nvSpPr>
        <p:spPr>
          <a:xfrm>
            <a:off x="5913995" y="5430100"/>
            <a:ext cx="1567928" cy="920704"/>
          </a:xfrm>
          <a:prstGeom prst="rect">
            <a:avLst/>
          </a:prstGeom>
        </p:spPr>
        <p:txBody>
          <a:bodyPr/>
          <a:lstStyle>
            <a:lvl1pPr marL="151284" indent="-151284">
              <a:buFont typeface="Arial" panose="020B0604020202020204" pitchFamily="34" charset="0"/>
              <a:buChar char="•"/>
              <a:defRPr sz="795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Body list</a:t>
            </a:r>
          </a:p>
          <a:p>
            <a:pPr lvl="0"/>
            <a:r>
              <a:rPr lang="en-US"/>
              <a:t>Body list</a:t>
            </a:r>
          </a:p>
        </p:txBody>
      </p:sp>
      <p:sp>
        <p:nvSpPr>
          <p:cNvPr id="49" name="Rectangle 48"/>
          <p:cNvSpPr/>
          <p:nvPr userDrawn="1"/>
        </p:nvSpPr>
        <p:spPr>
          <a:xfrm>
            <a:off x="7918518" y="261879"/>
            <a:ext cx="3892452" cy="62182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88" err="1">
              <a:solidFill>
                <a:schemeClr val="tx1"/>
              </a:solidFill>
            </a:endParaRPr>
          </a:p>
        </p:txBody>
      </p:sp>
      <p:sp>
        <p:nvSpPr>
          <p:cNvPr id="50" name="Text Placeholder 27"/>
          <p:cNvSpPr>
            <a:spLocks noGrp="1"/>
          </p:cNvSpPr>
          <p:nvPr>
            <p:ph type="body" sz="quarter" idx="20" hasCustomPrompt="1"/>
          </p:nvPr>
        </p:nvSpPr>
        <p:spPr>
          <a:xfrm>
            <a:off x="8101299" y="468393"/>
            <a:ext cx="3542531" cy="156883"/>
          </a:xfrm>
          <a:prstGeom prst="rect">
            <a:avLst/>
          </a:prstGeom>
        </p:spPr>
        <p:txBody>
          <a:bodyPr/>
          <a:lstStyle>
            <a:lvl1pPr>
              <a:defRPr sz="1333" cap="all" baseline="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795" b="1">
                <a:solidFill>
                  <a:schemeClr val="bg1"/>
                </a:solidFill>
              </a:defRPr>
            </a:lvl2pPr>
            <a:lvl3pPr marL="284157" indent="0">
              <a:buNone/>
              <a:defRPr>
                <a:solidFill>
                  <a:schemeClr val="bg1"/>
                </a:solidFill>
              </a:defRPr>
            </a:lvl3pPr>
            <a:lvl4pPr marL="565141" indent="0">
              <a:buNone/>
              <a:defRPr sz="795">
                <a:solidFill>
                  <a:schemeClr val="bg1"/>
                </a:solidFill>
              </a:defRPr>
            </a:lvl4pPr>
            <a:lvl5pPr marL="792148" indent="0">
              <a:buNone/>
              <a:defRPr sz="795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dustry issue </a:t>
            </a:r>
          </a:p>
        </p:txBody>
      </p:sp>
      <p:sp>
        <p:nvSpPr>
          <p:cNvPr id="51" name="Text Placeholder 30"/>
          <p:cNvSpPr>
            <a:spLocks noGrp="1"/>
          </p:cNvSpPr>
          <p:nvPr>
            <p:ph type="body" sz="quarter" idx="40" hasCustomPrompt="1"/>
          </p:nvPr>
        </p:nvSpPr>
        <p:spPr>
          <a:xfrm>
            <a:off x="8101061" y="726129"/>
            <a:ext cx="3542531" cy="12896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3pPr marL="284157" marR="0" indent="0" algn="l" defTabSz="9143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795">
                <a:solidFill>
                  <a:schemeClr val="bg1"/>
                </a:solidFill>
              </a:defRPr>
            </a:lvl3pPr>
            <a:lvl4pPr marL="742936" indent="-177797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974708" indent="-182558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2" name="Text Placeholder 30"/>
          <p:cNvSpPr>
            <a:spLocks noGrp="1"/>
          </p:cNvSpPr>
          <p:nvPr>
            <p:ph type="body" sz="quarter" idx="27" hasCustomPrompt="1"/>
          </p:nvPr>
        </p:nvSpPr>
        <p:spPr>
          <a:xfrm>
            <a:off x="8101061" y="2570537"/>
            <a:ext cx="3542531" cy="12896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3pPr marL="284157" marR="0" indent="0" algn="l" defTabSz="9143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795">
                <a:solidFill>
                  <a:schemeClr val="bg1"/>
                </a:solidFill>
              </a:defRPr>
            </a:lvl3pPr>
            <a:lvl4pPr marL="742936" indent="-177797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974708" indent="-182558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3" name="Text Placeholder 47"/>
          <p:cNvSpPr>
            <a:spLocks noGrp="1"/>
          </p:cNvSpPr>
          <p:nvPr>
            <p:ph type="body" sz="quarter" idx="41" hasCustomPrompt="1"/>
          </p:nvPr>
        </p:nvSpPr>
        <p:spPr>
          <a:xfrm>
            <a:off x="8101061" y="955951"/>
            <a:ext cx="3542531" cy="1507612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95" b="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84157" indent="0">
              <a:buNone/>
              <a:defRPr/>
            </a:lvl3pPr>
            <a:lvl4pPr marL="565141" indent="0">
              <a:buNone/>
              <a:defRPr/>
            </a:lvl4pPr>
            <a:lvl5pPr marL="792148" indent="0">
              <a:buNone/>
              <a:defRPr/>
            </a:lvl5pPr>
          </a:lstStyle>
          <a:p>
            <a:pPr lvl="0"/>
            <a:r>
              <a:rPr lang="en-US"/>
              <a:t>Body text</a:t>
            </a:r>
          </a:p>
        </p:txBody>
      </p:sp>
      <p:sp>
        <p:nvSpPr>
          <p:cNvPr id="54" name="Text Placeholder 49"/>
          <p:cNvSpPr>
            <a:spLocks noGrp="1"/>
          </p:cNvSpPr>
          <p:nvPr>
            <p:ph type="body" sz="quarter" idx="31" hasCustomPrompt="1"/>
          </p:nvPr>
        </p:nvSpPr>
        <p:spPr>
          <a:xfrm>
            <a:off x="8101061" y="2776276"/>
            <a:ext cx="3542531" cy="1531003"/>
          </a:xfrm>
          <a:prstGeom prst="rect">
            <a:avLst/>
          </a:prstGeom>
        </p:spPr>
        <p:txBody>
          <a:bodyPr/>
          <a:lstStyle>
            <a:lvl1pPr marL="151284" indent="-151284">
              <a:buFont typeface="Arial" panose="020B0604020202020204" pitchFamily="34" charset="0"/>
              <a:buChar char="•"/>
              <a:defRPr sz="795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Body list</a:t>
            </a:r>
          </a:p>
          <a:p>
            <a:pPr lvl="0"/>
            <a:r>
              <a:rPr lang="en-US"/>
              <a:t>Body list</a:t>
            </a:r>
          </a:p>
        </p:txBody>
      </p:sp>
      <p:sp>
        <p:nvSpPr>
          <p:cNvPr id="21" name="Text Placeholder 27"/>
          <p:cNvSpPr>
            <a:spLocks noGrp="1"/>
          </p:cNvSpPr>
          <p:nvPr>
            <p:ph type="body" sz="quarter" idx="54" hasCustomPrompt="1"/>
          </p:nvPr>
        </p:nvSpPr>
        <p:spPr>
          <a:xfrm>
            <a:off x="8101299" y="4425547"/>
            <a:ext cx="3542531" cy="156883"/>
          </a:xfrm>
          <a:prstGeom prst="rect">
            <a:avLst/>
          </a:prstGeom>
        </p:spPr>
        <p:txBody>
          <a:bodyPr/>
          <a:lstStyle>
            <a:lvl1pPr marL="0" marR="0" indent="0" algn="l" defTabSz="9143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 cap="none" baseline="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sz="795" b="1">
                <a:solidFill>
                  <a:schemeClr val="bg1"/>
                </a:solidFill>
              </a:defRPr>
            </a:lvl2pPr>
            <a:lvl3pPr marL="284157" indent="0">
              <a:buNone/>
              <a:defRPr>
                <a:solidFill>
                  <a:schemeClr val="bg1"/>
                </a:solidFill>
              </a:defRPr>
            </a:lvl3pPr>
            <a:lvl4pPr marL="565141" indent="0">
              <a:buNone/>
              <a:defRPr sz="795">
                <a:solidFill>
                  <a:schemeClr val="bg1"/>
                </a:solidFill>
              </a:defRPr>
            </a:lvl4pPr>
            <a:lvl5pPr marL="792148" indent="0">
              <a:buNone/>
              <a:defRPr sz="795">
                <a:solidFill>
                  <a:schemeClr val="bg1"/>
                </a:solidFill>
              </a:defRPr>
            </a:lvl5pPr>
          </a:lstStyle>
          <a:p>
            <a:pPr marL="0" marR="0" lvl="0" indent="0" algn="l" defTabSz="9143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Master Text Styles</a:t>
            </a:r>
          </a:p>
          <a:p>
            <a:pPr lvl="0"/>
            <a:r>
              <a:rPr lang="en-US" dirty="0"/>
              <a:t> </a:t>
            </a:r>
          </a:p>
        </p:txBody>
      </p:sp>
      <p:sp>
        <p:nvSpPr>
          <p:cNvPr id="22" name="Text Placeholder 47"/>
          <p:cNvSpPr>
            <a:spLocks noGrp="1"/>
          </p:cNvSpPr>
          <p:nvPr>
            <p:ph type="body" sz="quarter" idx="55" hasCustomPrompt="1"/>
          </p:nvPr>
        </p:nvSpPr>
        <p:spPr>
          <a:xfrm>
            <a:off x="8101061" y="4655369"/>
            <a:ext cx="3531481" cy="1695435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95" b="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84157" indent="0">
              <a:buNone/>
              <a:defRPr/>
            </a:lvl3pPr>
            <a:lvl4pPr marL="565141" indent="0">
              <a:buNone/>
              <a:defRPr/>
            </a:lvl4pPr>
            <a:lvl5pPr marL="792148" indent="0">
              <a:buNone/>
              <a:defRPr/>
            </a:lvl5pPr>
          </a:lstStyle>
          <a:p>
            <a:pPr lvl="0"/>
            <a:r>
              <a:rPr lang="en-US" dirty="0"/>
              <a:t>Body text</a:t>
            </a:r>
          </a:p>
        </p:txBody>
      </p:sp>
    </p:spTree>
    <p:extLst>
      <p:ext uri="{BB962C8B-B14F-4D97-AF65-F5344CB8AC3E}">
        <p14:creationId xmlns:p14="http://schemas.microsoft.com/office/powerpoint/2010/main" val="30636017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72">
          <p15:clr>
            <a:srgbClr val="FBAE40"/>
          </p15:clr>
        </p15:guide>
        <p15:guide id="3" pos="298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 Handl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D926425-8E0A-4F19-95F9-2CCCC40F83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738901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D926425-8E0A-4F19-95F9-2CCCC40F83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4E27FC-0EBE-49F1-BF4C-F70FB47B78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03861" y="261881"/>
            <a:ext cx="4955136" cy="271568"/>
          </a:xfrm>
        </p:spPr>
        <p:txBody>
          <a:bodyPr wrap="square" tIns="0" anchor="t">
            <a:spAutoFit/>
          </a:bodyPr>
          <a:lstStyle>
            <a:lvl1pPr>
              <a:lnSpc>
                <a:spcPct val="100000"/>
              </a:lnSpc>
              <a:defRPr sz="1765" b="0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OBJECTIVE HANDLING</a:t>
            </a:r>
          </a:p>
        </p:txBody>
      </p:sp>
      <p:sp>
        <p:nvSpPr>
          <p:cNvPr id="49" name="Rectangle 48"/>
          <p:cNvSpPr/>
          <p:nvPr userDrawn="1"/>
        </p:nvSpPr>
        <p:spPr>
          <a:xfrm>
            <a:off x="7918518" y="261879"/>
            <a:ext cx="3892452" cy="58921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88" err="1">
              <a:solidFill>
                <a:schemeClr val="tx1"/>
              </a:solidFill>
            </a:endParaRPr>
          </a:p>
        </p:txBody>
      </p:sp>
      <p:sp>
        <p:nvSpPr>
          <p:cNvPr id="50" name="Text Placeholder 27"/>
          <p:cNvSpPr>
            <a:spLocks noGrp="1"/>
          </p:cNvSpPr>
          <p:nvPr>
            <p:ph type="body" sz="quarter" idx="20" hasCustomPrompt="1"/>
          </p:nvPr>
        </p:nvSpPr>
        <p:spPr>
          <a:xfrm>
            <a:off x="8101299" y="468393"/>
            <a:ext cx="3542531" cy="156883"/>
          </a:xfrm>
          <a:prstGeom prst="rect">
            <a:avLst/>
          </a:prstGeom>
        </p:spPr>
        <p:txBody>
          <a:bodyPr/>
          <a:lstStyle>
            <a:lvl1pPr>
              <a:defRPr sz="1059" cap="all" baseline="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795" b="1">
                <a:solidFill>
                  <a:schemeClr val="bg1"/>
                </a:solidFill>
              </a:defRPr>
            </a:lvl2pPr>
            <a:lvl3pPr marL="284157" indent="0">
              <a:buNone/>
              <a:defRPr>
                <a:solidFill>
                  <a:schemeClr val="bg1"/>
                </a:solidFill>
              </a:defRPr>
            </a:lvl3pPr>
            <a:lvl4pPr marL="565141" indent="0">
              <a:buNone/>
              <a:defRPr sz="795">
                <a:solidFill>
                  <a:schemeClr val="bg1"/>
                </a:solidFill>
              </a:defRPr>
            </a:lvl4pPr>
            <a:lvl5pPr marL="792148" indent="0">
              <a:buNone/>
              <a:defRPr sz="795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What’s in the box </a:t>
            </a:r>
          </a:p>
        </p:txBody>
      </p:sp>
      <p:sp>
        <p:nvSpPr>
          <p:cNvPr id="51" name="Text Placeholder 30"/>
          <p:cNvSpPr>
            <a:spLocks noGrp="1"/>
          </p:cNvSpPr>
          <p:nvPr>
            <p:ph type="body" sz="quarter" idx="40" hasCustomPrompt="1"/>
          </p:nvPr>
        </p:nvSpPr>
        <p:spPr>
          <a:xfrm>
            <a:off x="8101061" y="726129"/>
            <a:ext cx="3542531" cy="128968"/>
          </a:xfrm>
          <a:prstGeom prst="rect">
            <a:avLst/>
          </a:prstGeom>
        </p:spPr>
        <p:txBody>
          <a:bodyPr/>
          <a:lstStyle>
            <a:lvl1pPr>
              <a:defRPr sz="1059">
                <a:solidFill>
                  <a:schemeClr val="bg1"/>
                </a:solidFill>
              </a:defRPr>
            </a:lvl1pPr>
            <a:lvl3pPr marL="284157" marR="0" indent="0" algn="l" defTabSz="9143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795">
                <a:solidFill>
                  <a:schemeClr val="bg1"/>
                </a:solidFill>
              </a:defRPr>
            </a:lvl3pPr>
            <a:lvl4pPr marL="742936" indent="-177797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974708" indent="-182558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2" name="Text Placeholder 30"/>
          <p:cNvSpPr>
            <a:spLocks noGrp="1"/>
          </p:cNvSpPr>
          <p:nvPr>
            <p:ph type="body" sz="quarter" idx="27" hasCustomPrompt="1"/>
          </p:nvPr>
        </p:nvSpPr>
        <p:spPr>
          <a:xfrm>
            <a:off x="8101061" y="2457609"/>
            <a:ext cx="3542531" cy="128968"/>
          </a:xfrm>
          <a:prstGeom prst="rect">
            <a:avLst/>
          </a:prstGeom>
        </p:spPr>
        <p:txBody>
          <a:bodyPr/>
          <a:lstStyle>
            <a:lvl1pPr>
              <a:defRPr sz="1059" cap="all" baseline="0">
                <a:solidFill>
                  <a:schemeClr val="bg1"/>
                </a:solidFill>
                <a:latin typeface="+mj-lt"/>
              </a:defRPr>
            </a:lvl1pPr>
            <a:lvl3pPr marL="284157" marR="0" indent="0" algn="l" defTabSz="9143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795">
                <a:solidFill>
                  <a:schemeClr val="bg1"/>
                </a:solidFill>
              </a:defRPr>
            </a:lvl3pPr>
            <a:lvl4pPr marL="742936" indent="-177797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974708" indent="-182558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ervices</a:t>
            </a:r>
          </a:p>
        </p:txBody>
      </p:sp>
      <p:sp>
        <p:nvSpPr>
          <p:cNvPr id="53" name="Text Placeholder 47"/>
          <p:cNvSpPr>
            <a:spLocks noGrp="1"/>
          </p:cNvSpPr>
          <p:nvPr>
            <p:ph type="body" sz="quarter" idx="41" hasCustomPrompt="1"/>
          </p:nvPr>
        </p:nvSpPr>
        <p:spPr>
          <a:xfrm>
            <a:off x="8101061" y="933438"/>
            <a:ext cx="3542531" cy="1389529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95" b="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84157" indent="0">
              <a:buNone/>
              <a:defRPr/>
            </a:lvl3pPr>
            <a:lvl4pPr marL="565141" indent="0">
              <a:buNone/>
              <a:defRPr/>
            </a:lvl4pPr>
            <a:lvl5pPr marL="792148" indent="0">
              <a:buNone/>
              <a:defRPr/>
            </a:lvl5pPr>
          </a:lstStyle>
          <a:p>
            <a:pPr lvl="0"/>
            <a:r>
              <a:rPr lang="en-US"/>
              <a:t>Body text</a:t>
            </a:r>
          </a:p>
        </p:txBody>
      </p:sp>
      <p:sp>
        <p:nvSpPr>
          <p:cNvPr id="54" name="Text Placeholder 49"/>
          <p:cNvSpPr>
            <a:spLocks noGrp="1"/>
          </p:cNvSpPr>
          <p:nvPr>
            <p:ph type="body" sz="quarter" idx="31" hasCustomPrompt="1"/>
          </p:nvPr>
        </p:nvSpPr>
        <p:spPr>
          <a:xfrm>
            <a:off x="8101061" y="2663348"/>
            <a:ext cx="3542531" cy="1531003"/>
          </a:xfrm>
          <a:prstGeom prst="rect">
            <a:avLst/>
          </a:prstGeom>
        </p:spPr>
        <p:txBody>
          <a:bodyPr/>
          <a:lstStyle>
            <a:lvl1pPr marL="151284" indent="-151284">
              <a:buFont typeface="Arial" panose="020B0604020202020204" pitchFamily="34" charset="0"/>
              <a:buChar char="•"/>
              <a:defRPr sz="795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Body list</a:t>
            </a:r>
          </a:p>
          <a:p>
            <a:pPr lvl="0"/>
            <a:r>
              <a:rPr lang="en-US"/>
              <a:t>Body list</a:t>
            </a:r>
          </a:p>
        </p:txBody>
      </p:sp>
      <p:sp>
        <p:nvSpPr>
          <p:cNvPr id="21" name="Text Placeholder 21"/>
          <p:cNvSpPr>
            <a:spLocks noGrp="1"/>
          </p:cNvSpPr>
          <p:nvPr>
            <p:ph type="body" sz="quarter" idx="42"/>
          </p:nvPr>
        </p:nvSpPr>
        <p:spPr>
          <a:xfrm>
            <a:off x="4133072" y="734450"/>
            <a:ext cx="3549453" cy="158037"/>
          </a:xfrm>
          <a:prstGeom prst="rect">
            <a:avLst/>
          </a:prstGeom>
        </p:spPr>
        <p:txBody>
          <a:bodyPr/>
          <a:lstStyle>
            <a:lvl1pPr marL="151284" indent="-151284">
              <a:buSzPct val="120000"/>
              <a:buFont typeface="System Font Regular"/>
              <a:buChar char="Q"/>
              <a:defRPr sz="1200">
                <a:solidFill>
                  <a:schemeClr val="tx1"/>
                </a:solidFill>
              </a:defRPr>
            </a:lvl1pPr>
            <a:lvl2pPr marL="0" indent="0">
              <a:buNone/>
              <a:defRPr sz="795" baseline="0"/>
            </a:lvl2pPr>
            <a:lvl3pPr marL="284157" indent="0">
              <a:buNone/>
              <a:defRPr sz="795"/>
            </a:lvl3pPr>
            <a:lvl4pPr marL="565141" indent="0">
              <a:buNone/>
              <a:defRPr sz="795"/>
            </a:lvl4pPr>
            <a:lvl5pPr marL="792148" indent="0">
              <a:buNone/>
              <a:defRPr sz="795"/>
            </a:lvl5pPr>
          </a:lstStyle>
          <a:p>
            <a:pPr lvl="0"/>
            <a:r>
              <a:rPr lang="en-US"/>
              <a:t>Edit </a:t>
            </a:r>
            <a:r>
              <a:rPr lang="en-US" dirty="0"/>
              <a:t>Master text styles</a:t>
            </a:r>
          </a:p>
        </p:txBody>
      </p:sp>
      <p:sp>
        <p:nvSpPr>
          <p:cNvPr id="22" name="Text Placeholder 45"/>
          <p:cNvSpPr>
            <a:spLocks noGrp="1"/>
          </p:cNvSpPr>
          <p:nvPr>
            <p:ph type="body" sz="quarter" idx="43"/>
          </p:nvPr>
        </p:nvSpPr>
        <p:spPr>
          <a:xfrm>
            <a:off x="4131437" y="967840"/>
            <a:ext cx="3548303" cy="1238856"/>
          </a:xfrm>
          <a:prstGeom prst="rect">
            <a:avLst/>
          </a:prstGeom>
        </p:spPr>
        <p:txBody>
          <a:bodyPr/>
          <a:lstStyle>
            <a:lvl1pPr marL="151284" indent="-151284">
              <a:buFont typeface="Arial" panose="020B0604020202020204" pitchFamily="34" charset="0"/>
              <a:buChar char="A"/>
              <a:defRPr sz="1000" b="0"/>
            </a:lvl1pPr>
            <a:lvl2pPr>
              <a:defRPr sz="795" b="0"/>
            </a:lvl2pPr>
            <a:lvl3pPr>
              <a:defRPr sz="795" b="0"/>
            </a:lvl3pPr>
            <a:lvl4pPr>
              <a:defRPr sz="795" b="0"/>
            </a:lvl4pPr>
            <a:lvl5pPr>
              <a:defRPr sz="795" b="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44"/>
          </p:nvPr>
        </p:nvSpPr>
        <p:spPr>
          <a:xfrm>
            <a:off x="406043" y="2341167"/>
            <a:ext cx="3549453" cy="158037"/>
          </a:xfrm>
          <a:prstGeom prst="rect">
            <a:avLst/>
          </a:prstGeom>
        </p:spPr>
        <p:txBody>
          <a:bodyPr/>
          <a:lstStyle>
            <a:lvl1pPr marL="151284" indent="-151284">
              <a:buSzPct val="120000"/>
              <a:buFont typeface="System Font Regular"/>
              <a:buChar char="Q"/>
              <a:defRPr sz="1200">
                <a:solidFill>
                  <a:schemeClr val="tx1"/>
                </a:solidFill>
              </a:defRPr>
            </a:lvl1pPr>
            <a:lvl2pPr marL="0" indent="0">
              <a:buNone/>
              <a:defRPr sz="795" baseline="0"/>
            </a:lvl2pPr>
            <a:lvl3pPr marL="284157" indent="0">
              <a:buNone/>
              <a:defRPr sz="795"/>
            </a:lvl3pPr>
            <a:lvl4pPr marL="565141" indent="0">
              <a:buNone/>
              <a:defRPr sz="795"/>
            </a:lvl4pPr>
            <a:lvl5pPr marL="792148" indent="0">
              <a:buNone/>
              <a:defRPr sz="795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Text Placeholder 45"/>
          <p:cNvSpPr>
            <a:spLocks noGrp="1"/>
          </p:cNvSpPr>
          <p:nvPr>
            <p:ph type="body" sz="quarter" idx="45"/>
          </p:nvPr>
        </p:nvSpPr>
        <p:spPr>
          <a:xfrm>
            <a:off x="404406" y="2574556"/>
            <a:ext cx="3548303" cy="1238856"/>
          </a:xfrm>
          <a:prstGeom prst="rect">
            <a:avLst/>
          </a:prstGeom>
        </p:spPr>
        <p:txBody>
          <a:bodyPr/>
          <a:lstStyle>
            <a:lvl1pPr marL="151284" indent="-151284">
              <a:buFont typeface="Arial" panose="020B0604020202020204" pitchFamily="34" charset="0"/>
              <a:buChar char="A"/>
              <a:defRPr sz="1000" b="0"/>
            </a:lvl1pPr>
            <a:lvl2pPr>
              <a:defRPr sz="795" b="0"/>
            </a:lvl2pPr>
            <a:lvl3pPr>
              <a:defRPr sz="795" b="0"/>
            </a:lvl3pPr>
            <a:lvl4pPr>
              <a:defRPr sz="795" b="0"/>
            </a:lvl4pPr>
            <a:lvl5pPr>
              <a:defRPr sz="795" b="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46"/>
          </p:nvPr>
        </p:nvSpPr>
        <p:spPr>
          <a:xfrm>
            <a:off x="4135254" y="2341167"/>
            <a:ext cx="3549453" cy="158037"/>
          </a:xfrm>
          <a:prstGeom prst="rect">
            <a:avLst/>
          </a:prstGeom>
        </p:spPr>
        <p:txBody>
          <a:bodyPr/>
          <a:lstStyle>
            <a:lvl1pPr marL="151284" indent="-151284">
              <a:buSzPct val="120000"/>
              <a:buFont typeface="System Font Regular"/>
              <a:buChar char="Q"/>
              <a:defRPr sz="1200">
                <a:solidFill>
                  <a:schemeClr val="tx1"/>
                </a:solidFill>
              </a:defRPr>
            </a:lvl1pPr>
            <a:lvl2pPr marL="0" indent="0">
              <a:buNone/>
              <a:defRPr sz="795" baseline="0"/>
            </a:lvl2pPr>
            <a:lvl3pPr marL="284157" indent="0">
              <a:buNone/>
              <a:defRPr sz="795"/>
            </a:lvl3pPr>
            <a:lvl4pPr marL="565141" indent="0">
              <a:buNone/>
              <a:defRPr sz="795"/>
            </a:lvl4pPr>
            <a:lvl5pPr marL="792148" indent="0">
              <a:buNone/>
              <a:defRPr sz="795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Text Placeholder 45"/>
          <p:cNvSpPr>
            <a:spLocks noGrp="1"/>
          </p:cNvSpPr>
          <p:nvPr>
            <p:ph type="body" sz="quarter" idx="47"/>
          </p:nvPr>
        </p:nvSpPr>
        <p:spPr>
          <a:xfrm>
            <a:off x="4133618" y="2574556"/>
            <a:ext cx="3548303" cy="1238856"/>
          </a:xfrm>
          <a:prstGeom prst="rect">
            <a:avLst/>
          </a:prstGeom>
        </p:spPr>
        <p:txBody>
          <a:bodyPr/>
          <a:lstStyle>
            <a:lvl1pPr marL="151284" indent="-151284">
              <a:buFont typeface="Arial" panose="020B0604020202020204" pitchFamily="34" charset="0"/>
              <a:buChar char="A"/>
              <a:defRPr sz="1000" b="0"/>
            </a:lvl1pPr>
            <a:lvl2pPr>
              <a:defRPr sz="795" b="0"/>
            </a:lvl2pPr>
            <a:lvl3pPr>
              <a:defRPr sz="795" b="0"/>
            </a:lvl3pPr>
            <a:lvl4pPr>
              <a:defRPr sz="795" b="0"/>
            </a:lvl4pPr>
            <a:lvl5pPr>
              <a:defRPr sz="795" b="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Text Placeholder 21"/>
          <p:cNvSpPr>
            <a:spLocks noGrp="1"/>
          </p:cNvSpPr>
          <p:nvPr>
            <p:ph type="body" sz="quarter" idx="48"/>
          </p:nvPr>
        </p:nvSpPr>
        <p:spPr>
          <a:xfrm>
            <a:off x="408830" y="3951752"/>
            <a:ext cx="3549453" cy="158037"/>
          </a:xfrm>
          <a:prstGeom prst="rect">
            <a:avLst/>
          </a:prstGeom>
        </p:spPr>
        <p:txBody>
          <a:bodyPr/>
          <a:lstStyle>
            <a:lvl1pPr marL="151284" indent="-151284">
              <a:buSzPct val="120000"/>
              <a:buFont typeface="System Font Regular"/>
              <a:buChar char="Q"/>
              <a:defRPr sz="1200">
                <a:solidFill>
                  <a:schemeClr val="tx1"/>
                </a:solidFill>
              </a:defRPr>
            </a:lvl1pPr>
            <a:lvl2pPr marL="0" indent="0">
              <a:buNone/>
              <a:defRPr sz="795" baseline="0"/>
            </a:lvl2pPr>
            <a:lvl3pPr marL="284157" indent="0">
              <a:buNone/>
              <a:defRPr sz="795"/>
            </a:lvl3pPr>
            <a:lvl4pPr marL="565141" indent="0">
              <a:buNone/>
              <a:defRPr sz="795"/>
            </a:lvl4pPr>
            <a:lvl5pPr marL="792148" indent="0">
              <a:buNone/>
              <a:defRPr sz="795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Text Placeholder 45"/>
          <p:cNvSpPr>
            <a:spLocks noGrp="1"/>
          </p:cNvSpPr>
          <p:nvPr>
            <p:ph type="body" sz="quarter" idx="49"/>
          </p:nvPr>
        </p:nvSpPr>
        <p:spPr>
          <a:xfrm>
            <a:off x="407193" y="4185141"/>
            <a:ext cx="3548303" cy="1238856"/>
          </a:xfrm>
          <a:prstGeom prst="rect">
            <a:avLst/>
          </a:prstGeom>
        </p:spPr>
        <p:txBody>
          <a:bodyPr/>
          <a:lstStyle>
            <a:lvl1pPr marL="151284" indent="-151284">
              <a:buFont typeface="Arial" panose="020B0604020202020204" pitchFamily="34" charset="0"/>
              <a:buChar char="A"/>
              <a:defRPr sz="1000" b="0"/>
            </a:lvl1pPr>
            <a:lvl2pPr>
              <a:defRPr sz="795" b="0"/>
            </a:lvl2pPr>
            <a:lvl3pPr>
              <a:defRPr sz="795" b="0"/>
            </a:lvl3pPr>
            <a:lvl4pPr>
              <a:defRPr sz="795" b="0"/>
            </a:lvl4pPr>
            <a:lvl5pPr>
              <a:defRPr sz="795" b="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9" name="Text Placeholder 21"/>
          <p:cNvSpPr>
            <a:spLocks noGrp="1"/>
          </p:cNvSpPr>
          <p:nvPr>
            <p:ph type="body" sz="quarter" idx="50"/>
          </p:nvPr>
        </p:nvSpPr>
        <p:spPr>
          <a:xfrm>
            <a:off x="4138040" y="3951752"/>
            <a:ext cx="3549453" cy="158037"/>
          </a:xfrm>
          <a:prstGeom prst="rect">
            <a:avLst/>
          </a:prstGeom>
        </p:spPr>
        <p:txBody>
          <a:bodyPr/>
          <a:lstStyle>
            <a:lvl1pPr marL="151284" indent="-151284">
              <a:buSzPct val="120000"/>
              <a:buFont typeface="System Font Regular"/>
              <a:buChar char="Q"/>
              <a:defRPr sz="1200">
                <a:solidFill>
                  <a:schemeClr val="tx1"/>
                </a:solidFill>
              </a:defRPr>
            </a:lvl1pPr>
            <a:lvl2pPr marL="0" indent="0">
              <a:buNone/>
              <a:defRPr sz="795" baseline="0"/>
            </a:lvl2pPr>
            <a:lvl3pPr marL="284157" indent="0">
              <a:buNone/>
              <a:defRPr sz="795"/>
            </a:lvl3pPr>
            <a:lvl4pPr marL="565141" indent="0">
              <a:buNone/>
              <a:defRPr sz="795"/>
            </a:lvl4pPr>
            <a:lvl5pPr marL="792148" indent="0">
              <a:buNone/>
              <a:defRPr sz="795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0" name="Text Placeholder 45"/>
          <p:cNvSpPr>
            <a:spLocks noGrp="1"/>
          </p:cNvSpPr>
          <p:nvPr>
            <p:ph type="body" sz="quarter" idx="51"/>
          </p:nvPr>
        </p:nvSpPr>
        <p:spPr>
          <a:xfrm>
            <a:off x="4136405" y="4185141"/>
            <a:ext cx="3548303" cy="1238856"/>
          </a:xfrm>
          <a:prstGeom prst="rect">
            <a:avLst/>
          </a:prstGeom>
        </p:spPr>
        <p:txBody>
          <a:bodyPr/>
          <a:lstStyle>
            <a:lvl1pPr marL="151284" indent="-151284">
              <a:buFont typeface="Arial" panose="020B0604020202020204" pitchFamily="34" charset="0"/>
              <a:buChar char="A"/>
              <a:defRPr sz="1000" b="0"/>
            </a:lvl1pPr>
            <a:lvl2pPr>
              <a:defRPr sz="795" b="0"/>
            </a:lvl2pPr>
            <a:lvl3pPr>
              <a:defRPr sz="795" b="0"/>
            </a:lvl3pPr>
            <a:lvl4pPr>
              <a:defRPr sz="795" b="0"/>
            </a:lvl4pPr>
            <a:lvl5pPr>
              <a:defRPr sz="795" b="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21"/>
          <p:cNvSpPr>
            <a:spLocks noGrp="1"/>
          </p:cNvSpPr>
          <p:nvPr>
            <p:ph type="body" sz="quarter" idx="52" hasCustomPrompt="1"/>
          </p:nvPr>
        </p:nvSpPr>
        <p:spPr>
          <a:xfrm>
            <a:off x="385119" y="743838"/>
            <a:ext cx="3549453" cy="158037"/>
          </a:xfrm>
          <a:prstGeom prst="rect">
            <a:avLst/>
          </a:prstGeom>
        </p:spPr>
        <p:txBody>
          <a:bodyPr/>
          <a:lstStyle>
            <a:lvl1pPr marL="151284" indent="-151284">
              <a:buSzPct val="120000"/>
              <a:buFont typeface="System Font Regular"/>
              <a:buChar char="Q"/>
              <a:defRPr sz="1200">
                <a:solidFill>
                  <a:schemeClr val="tx1"/>
                </a:solidFill>
              </a:defRPr>
            </a:lvl1pPr>
            <a:lvl2pPr marL="0" indent="0">
              <a:buNone/>
              <a:defRPr sz="795" baseline="0"/>
            </a:lvl2pPr>
            <a:lvl3pPr marL="284157" indent="0">
              <a:buNone/>
              <a:defRPr sz="795"/>
            </a:lvl3pPr>
            <a:lvl4pPr marL="565141" indent="0">
              <a:buNone/>
              <a:defRPr sz="795"/>
            </a:lvl4pPr>
            <a:lvl5pPr marL="792148" indent="0">
              <a:buNone/>
              <a:defRPr sz="795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3" name="Text Placeholder 45"/>
          <p:cNvSpPr>
            <a:spLocks noGrp="1"/>
          </p:cNvSpPr>
          <p:nvPr>
            <p:ph type="body" sz="quarter" idx="53"/>
          </p:nvPr>
        </p:nvSpPr>
        <p:spPr>
          <a:xfrm>
            <a:off x="383482" y="977227"/>
            <a:ext cx="3548303" cy="1238856"/>
          </a:xfrm>
          <a:prstGeom prst="rect">
            <a:avLst/>
          </a:prstGeom>
        </p:spPr>
        <p:txBody>
          <a:bodyPr/>
          <a:lstStyle>
            <a:lvl1pPr marL="151284" indent="-151284">
              <a:buFont typeface="Arial" panose="020B0604020202020204" pitchFamily="34" charset="0"/>
              <a:buChar char="A"/>
              <a:defRPr sz="1000" b="0"/>
            </a:lvl1pPr>
            <a:lvl2pPr>
              <a:defRPr sz="795" b="0"/>
            </a:lvl2pPr>
            <a:lvl3pPr>
              <a:defRPr sz="795" b="0"/>
            </a:lvl3pPr>
            <a:lvl4pPr>
              <a:defRPr sz="795" b="0"/>
            </a:lvl4pPr>
            <a:lvl5pPr>
              <a:defRPr sz="795" b="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1" name="Text Placeholder 27"/>
          <p:cNvSpPr>
            <a:spLocks noGrp="1"/>
          </p:cNvSpPr>
          <p:nvPr>
            <p:ph type="body" sz="quarter" idx="54" hasCustomPrompt="1"/>
          </p:nvPr>
        </p:nvSpPr>
        <p:spPr>
          <a:xfrm>
            <a:off x="8101299" y="4323125"/>
            <a:ext cx="3542531" cy="156883"/>
          </a:xfrm>
          <a:prstGeom prst="rect">
            <a:avLst/>
          </a:prstGeom>
        </p:spPr>
        <p:txBody>
          <a:bodyPr/>
          <a:lstStyle>
            <a:lvl1pPr>
              <a:defRPr sz="1059" cap="all" baseline="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795" b="1">
                <a:solidFill>
                  <a:schemeClr val="bg1"/>
                </a:solidFill>
              </a:defRPr>
            </a:lvl2pPr>
            <a:lvl3pPr marL="284157" indent="0">
              <a:buNone/>
              <a:defRPr>
                <a:solidFill>
                  <a:schemeClr val="bg1"/>
                </a:solidFill>
              </a:defRPr>
            </a:lvl3pPr>
            <a:lvl4pPr marL="565141" indent="0">
              <a:buNone/>
              <a:defRPr sz="795">
                <a:solidFill>
                  <a:schemeClr val="bg1"/>
                </a:solidFill>
              </a:defRPr>
            </a:lvl4pPr>
            <a:lvl5pPr marL="792148" indent="0">
              <a:buNone/>
              <a:defRPr sz="795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ales / Reference materials </a:t>
            </a:r>
          </a:p>
        </p:txBody>
      </p:sp>
      <p:sp>
        <p:nvSpPr>
          <p:cNvPr id="34" name="Text Placeholder 47"/>
          <p:cNvSpPr>
            <a:spLocks noGrp="1"/>
          </p:cNvSpPr>
          <p:nvPr>
            <p:ph type="body" sz="quarter" idx="55" hasCustomPrompt="1"/>
          </p:nvPr>
        </p:nvSpPr>
        <p:spPr>
          <a:xfrm>
            <a:off x="8090012" y="4578842"/>
            <a:ext cx="3542531" cy="1389529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95" b="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284157" indent="0">
              <a:buNone/>
              <a:defRPr/>
            </a:lvl3pPr>
            <a:lvl4pPr marL="565141" indent="0">
              <a:buNone/>
              <a:defRPr/>
            </a:lvl4pPr>
            <a:lvl5pPr marL="792148" indent="0">
              <a:buNone/>
              <a:defRPr/>
            </a:lvl5pPr>
          </a:lstStyle>
          <a:p>
            <a:pPr lvl="0"/>
            <a:r>
              <a:rPr lang="en-US"/>
              <a:t>Body text</a:t>
            </a:r>
          </a:p>
        </p:txBody>
      </p:sp>
      <p:sp>
        <p:nvSpPr>
          <p:cNvPr id="2" name="Text Placeholder 45">
            <a:extLst>
              <a:ext uri="{FF2B5EF4-FFF2-40B4-BE49-F238E27FC236}">
                <a16:creationId xmlns:a16="http://schemas.microsoft.com/office/drawing/2014/main" id="{4072F4CB-FC2D-E12E-19D4-32909052B91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403862" y="5685539"/>
            <a:ext cx="1816617" cy="15803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733" b="1"/>
            </a:lvl1pPr>
            <a:lvl2pPr>
              <a:defRPr sz="795" b="0"/>
            </a:lvl2pPr>
            <a:lvl3pPr>
              <a:defRPr sz="795" b="0"/>
            </a:lvl3pPr>
            <a:lvl4pPr>
              <a:defRPr sz="795" b="0"/>
            </a:lvl4pPr>
            <a:lvl5pPr>
              <a:defRPr sz="795" b="0"/>
            </a:lvl5pPr>
          </a:lstStyle>
          <a:p>
            <a:pPr lvl="0"/>
            <a:r>
              <a:rPr lang="en-US" dirty="0"/>
              <a:t>For more information</a:t>
            </a:r>
          </a:p>
        </p:txBody>
      </p:sp>
      <p:sp>
        <p:nvSpPr>
          <p:cNvPr id="7" name="Text Placeholder 45">
            <a:extLst>
              <a:ext uri="{FF2B5EF4-FFF2-40B4-BE49-F238E27FC236}">
                <a16:creationId xmlns:a16="http://schemas.microsoft.com/office/drawing/2014/main" id="{FA8F6947-7971-9EED-E665-50CABE73C6D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403862" y="5862478"/>
            <a:ext cx="1816617" cy="15803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733" b="0"/>
            </a:lvl1pPr>
            <a:lvl2pPr>
              <a:defRPr sz="795" b="0"/>
            </a:lvl2pPr>
            <a:lvl3pPr>
              <a:defRPr sz="795" b="0"/>
            </a:lvl3pPr>
            <a:lvl4pPr>
              <a:defRPr sz="795" b="0"/>
            </a:lvl4pPr>
            <a:lvl5pPr>
              <a:defRPr sz="795" b="0"/>
            </a:lvl5pPr>
          </a:lstStyle>
          <a:p>
            <a:pPr lvl="0"/>
            <a:r>
              <a:rPr lang="en-US" dirty="0" err="1"/>
              <a:t>automation.honeywell.com</a:t>
            </a:r>
            <a:endParaRPr lang="en-US" dirty="0"/>
          </a:p>
        </p:txBody>
      </p:sp>
      <p:sp>
        <p:nvSpPr>
          <p:cNvPr id="8" name="Text Placeholder 45">
            <a:extLst>
              <a:ext uri="{FF2B5EF4-FFF2-40B4-BE49-F238E27FC236}">
                <a16:creationId xmlns:a16="http://schemas.microsoft.com/office/drawing/2014/main" id="{630EA9DA-78D8-5D49-99BA-B6C360C0929F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03862" y="6251701"/>
            <a:ext cx="1816617" cy="49350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733" b="0"/>
            </a:lvl1pPr>
            <a:lvl2pPr>
              <a:defRPr sz="795" b="0"/>
            </a:lvl2pPr>
            <a:lvl3pPr>
              <a:defRPr sz="795" b="0"/>
            </a:lvl3pPr>
            <a:lvl4pPr>
              <a:defRPr sz="795" b="0"/>
            </a:lvl4pPr>
            <a:lvl5pPr>
              <a:defRPr sz="795" b="0"/>
            </a:lvl5pPr>
          </a:lstStyle>
          <a:p>
            <a:pPr lvl="0">
              <a:spcAft>
                <a:spcPts val="0"/>
              </a:spcAft>
            </a:pPr>
            <a:r>
              <a:rPr lang="en-US" dirty="0"/>
              <a:t>855 S Mint St </a:t>
            </a:r>
          </a:p>
          <a:p>
            <a:pPr lvl="0">
              <a:spcAft>
                <a:spcPts val="0"/>
              </a:spcAft>
            </a:pPr>
            <a:r>
              <a:rPr lang="en-US" dirty="0"/>
              <a:t>Charlotte, NC 28202</a:t>
            </a:r>
          </a:p>
          <a:p>
            <a:pPr lvl="0">
              <a:spcAft>
                <a:spcPts val="0"/>
              </a:spcAft>
            </a:pPr>
            <a:r>
              <a:rPr lang="en-US" dirty="0"/>
              <a:t>800-582-4263</a:t>
            </a:r>
          </a:p>
          <a:p>
            <a:pPr lvl="0">
              <a:spcAft>
                <a:spcPts val="0"/>
              </a:spcAft>
            </a:pPr>
            <a:r>
              <a:rPr lang="en-US" dirty="0" err="1"/>
              <a:t>www.honeywell.com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0" name="Text Placeholder 45">
            <a:extLst>
              <a:ext uri="{FF2B5EF4-FFF2-40B4-BE49-F238E27FC236}">
                <a16:creationId xmlns:a16="http://schemas.microsoft.com/office/drawing/2014/main" id="{C30DC2E9-DFD5-B348-FF44-B2025C18BA3F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403862" y="6054134"/>
            <a:ext cx="1816617" cy="15803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733" b="1"/>
            </a:lvl1pPr>
            <a:lvl2pPr>
              <a:defRPr sz="795" b="0"/>
            </a:lvl2pPr>
            <a:lvl3pPr>
              <a:defRPr sz="795" b="0"/>
            </a:lvl3pPr>
            <a:lvl4pPr>
              <a:defRPr sz="795" b="0"/>
            </a:lvl4pPr>
            <a:lvl5pPr>
              <a:defRPr sz="795" b="0"/>
            </a:lvl5pPr>
          </a:lstStyle>
          <a:p>
            <a:pPr lvl="0"/>
            <a:r>
              <a:rPr lang="en-US" dirty="0"/>
              <a:t>Honeywell Industrial Automation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A4CBAF51-B3B5-751C-66C4-BF4B9F43949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859387" y="6551224"/>
            <a:ext cx="951583" cy="174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68538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72">
          <p15:clr>
            <a:srgbClr val="FBAE40"/>
          </p15:clr>
        </p15:guide>
        <p15:guide id="3" pos="298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aseline="0"/>
            </a:lvl1pPr>
          </a:lstStyle>
          <a:p>
            <a:r>
              <a:rPr lang="en-US"/>
              <a:t>Table style 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95301" y="1409700"/>
            <a:ext cx="11201401" cy="429768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Please Copy – Paste the table from here to your slid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0F7696B-AED7-4649-B1BE-83104AF7ADD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4"/>
            <a:ext cx="12192000" cy="495299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099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4094407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86B161-CA47-576E-02F4-15A2BC15A9D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5F2E1CF-E9A2-2D70-AED6-9B925EB0E39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3AC5E1-8D43-7D39-7439-7157503E04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8CC066-D7A6-4F70-8C40-6D52D45EF29B}" type="datetimeFigureOut">
              <a:rPr lang="en-US" smtClean="0"/>
              <a:t>2/4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39825E-0A0B-8B74-D793-29D208049A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93313E-D400-5C4A-44A2-981F44D215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399D24-8439-4402-B3C4-3BCF0AF3B5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656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7D5DB1-FB2A-F0AA-260E-C8E1CEA883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770B0B-0CBF-8E22-0B55-D961FAF694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D1A22A-F150-2AAC-CFE8-6923423965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8CC066-D7A6-4F70-8C40-6D52D45EF29B}" type="datetimeFigureOut">
              <a:rPr lang="en-US" smtClean="0"/>
              <a:t>2/4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85AF20-AE90-325B-B122-2A5C9DF912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205485-3702-61A0-C53C-1AF5941AAC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399D24-8439-4402-B3C4-3BCF0AF3B5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3121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97C536-2C10-79DA-1347-72D33267E1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A40D14-3849-3D80-5072-02CFD7D93C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99E12D-EB65-5B6A-1AB1-7D05CE31DB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8CC066-D7A6-4F70-8C40-6D52D45EF29B}" type="datetimeFigureOut">
              <a:rPr lang="en-US" smtClean="0"/>
              <a:t>2/4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5D7F31-79AD-5D13-5FC4-11925FB615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B154C9-EBDC-138C-0F8E-B654351C6D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399D24-8439-4402-B3C4-3BCF0AF3B5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4112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92A7798-F3DB-43C4-B103-4253CC2C0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7436843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92A7798-F3DB-43C4-B103-4253CC2C0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42B51-3222-4383-9C98-1E5D34F0910A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D5431E2-DC1C-4926-9681-B5EB493CA4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1" y="495301"/>
            <a:ext cx="11201401" cy="4191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471868-C853-40C5-8660-D23F908B5B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99757" y="6480169"/>
            <a:ext cx="496945" cy="2376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 b="1"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C99D2A0-1C50-5A6E-FFBF-A79741F5CC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1" y="1315519"/>
            <a:ext cx="11201401" cy="48182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Rectangle 23">
            <a:extLst>
              <a:ext uri="{FF2B5EF4-FFF2-40B4-BE49-F238E27FC236}">
                <a16:creationId xmlns:a16="http://schemas.microsoft.com/office/drawing/2014/main" id="{49D98249-1D71-AF88-D929-CF7B151B638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393915" y="6500490"/>
            <a:ext cx="1404170" cy="23761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en-US" sz="667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© 2026 Honeywell International Inc. </a:t>
            </a:r>
          </a:p>
        </p:txBody>
      </p:sp>
    </p:spTree>
    <p:extLst>
      <p:ext uri="{BB962C8B-B14F-4D97-AF65-F5344CB8AC3E}">
        <p14:creationId xmlns:p14="http://schemas.microsoft.com/office/powerpoint/2010/main" val="2338315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hf hdr="0" dt="0"/>
  <p:txStyles>
    <p:titleStyle>
      <a:lvl1pPr algn="l" defTabSz="914382" rtl="0" eaLnBrk="1" latinLnBrk="0" hangingPunct="1">
        <a:lnSpc>
          <a:spcPct val="100000"/>
        </a:lnSpc>
        <a:spcBef>
          <a:spcPct val="0"/>
        </a:spcBef>
        <a:buNone/>
        <a:defRPr sz="3733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38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667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30184" indent="-230184" algn="l" defTabSz="91438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667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530216" indent="-246059" algn="l" defTabSz="91438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‒"/>
        <a:defRPr sz="2667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742936" indent="-177797" algn="l" defTabSz="91438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6">
            <a:lumMod val="25000"/>
          </a:schemeClr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974708" indent="-182558" algn="l" defTabSz="91438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5C5C5C"/>
        </a:buClr>
        <a:buFont typeface="Arial" panose="020B0604020202020204" pitchFamily="34" charset="0"/>
        <a:buChar char="‒"/>
        <a:defRPr sz="2133" b="0" i="1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53" indent="-228596" algn="l" defTabSz="914382" rtl="0" eaLnBrk="1" latinLnBrk="0" hangingPunct="1">
        <a:lnSpc>
          <a:spcPct val="90000"/>
        </a:lnSpc>
        <a:spcBef>
          <a:spcPts val="501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44" indent="-228596" algn="l" defTabSz="914382" rtl="0" eaLnBrk="1" latinLnBrk="0" hangingPunct="1">
        <a:lnSpc>
          <a:spcPct val="90000"/>
        </a:lnSpc>
        <a:spcBef>
          <a:spcPts val="501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37" indent="-228596" algn="l" defTabSz="914382" rtl="0" eaLnBrk="1" latinLnBrk="0" hangingPunct="1">
        <a:lnSpc>
          <a:spcPct val="90000"/>
        </a:lnSpc>
        <a:spcBef>
          <a:spcPts val="501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27" indent="-228596" algn="l" defTabSz="914382" rtl="0" eaLnBrk="1" latinLnBrk="0" hangingPunct="1">
        <a:lnSpc>
          <a:spcPct val="90000"/>
        </a:lnSpc>
        <a:spcBef>
          <a:spcPts val="501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1" algn="l" defTabSz="9143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82" algn="l" defTabSz="9143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75" algn="l" defTabSz="9143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66" algn="l" defTabSz="9143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58" algn="l" defTabSz="9143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49" algn="l" defTabSz="9143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41" algn="l" defTabSz="9143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33" algn="l" defTabSz="9143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DE53C"/>
          </p15:clr>
        </p15:guide>
        <p15:guide id="2" pos="2880">
          <p15:clr>
            <a:srgbClr val="9FCC3B"/>
          </p15:clr>
        </p15:guide>
        <p15:guide id="3" orient="horz" pos="234">
          <p15:clr>
            <a:srgbClr val="9FCC3B"/>
          </p15:clr>
        </p15:guide>
        <p15:guide id="4" orient="horz" pos="3006">
          <p15:clr>
            <a:srgbClr val="FDE53C"/>
          </p15:clr>
        </p15:guide>
        <p15:guide id="6" pos="5526">
          <p15:clr>
            <a:srgbClr val="9FCC3B"/>
          </p15:clr>
        </p15:guide>
        <p15:guide id="7" orient="horz" pos="2772">
          <p15:clr>
            <a:srgbClr val="9FCC3B"/>
          </p15:clr>
        </p15:guide>
        <p15:guide id="9" orient="horz" pos="432">
          <p15:clr>
            <a:srgbClr val="9FCC3B"/>
          </p15:clr>
        </p15:guide>
        <p15:guide id="10" orient="horz" pos="666">
          <p15:clr>
            <a:srgbClr val="9FCC3B"/>
          </p15:clr>
        </p15:guide>
        <p15:guide id="11" orient="horz" pos="1728">
          <p15:clr>
            <a:srgbClr val="9FCC3B"/>
          </p15:clr>
        </p15:guide>
        <p15:guide id="12">
          <p15:clr>
            <a:srgbClr val="000000"/>
          </p15:clr>
        </p15:guide>
        <p15:guide id="13" pos="5760">
          <p15:clr>
            <a:srgbClr val="000000"/>
          </p15:clr>
        </p15:guide>
        <p15:guide id="14" orient="horz">
          <p15:clr>
            <a:srgbClr val="000000"/>
          </p15:clr>
        </p15:guide>
        <p15:guide id="15" orient="horz" pos="3240">
          <p15:clr>
            <a:srgbClr val="000000"/>
          </p15:clr>
        </p15:guide>
        <p15:guide id="16" pos="234">
          <p15:clr>
            <a:srgbClr val="9FCC3B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2F45A3C-532C-90C7-13A2-64FDA5171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A50B57-C3ED-83AF-9B4C-D0757DB8DC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3F3CC7-7823-C1A0-0BF1-D21FBBF710E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68CC066-D7A6-4F70-8C40-6D52D45EF29B}" type="datetimeFigureOut">
              <a:rPr lang="en-US" smtClean="0"/>
              <a:t>2/4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9BFA1E-2E3C-1892-8C7D-57ABFF7A1B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BDCF56-7387-088D-B887-E7A2E17ADC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2399D24-8439-4402-B3C4-3BCF0AF3B5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9151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E7448FF-17B0-7F3C-1A4A-41185333F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1F09AF-B609-1C55-F475-9637A95882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52A042-3464-1681-A68E-6E1006C62DC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EC3DD0E-D0A1-440E-9465-45844900CCCD}" type="datetimeFigureOut">
              <a:rPr lang="en-US" smtClean="0"/>
              <a:t>2/4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77C71E-981B-C90E-A22D-16F9CC466D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EC962D-1E47-C57D-B2BE-7C671CC920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B1FA829-AD86-48E6-9A1A-56574FE847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47605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4.png"/><Relationship Id="rId7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hyperlink" Target="https://prod-edam.honeywell.com/content/dam/honeywell-edam/sps/ppr/en-us/public/products/printers/desktop/pc42e-t/documents/sps-pss-pc42e-t-printer-dts.pdf?download=false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F56BC2-B6B2-2379-0A66-83A5430974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F59F18-8C57-4093-E26B-187963AD29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76798"/>
            <a:fld id="{7B94EC18-1D2B-4535-B738-0E53AFE26620}" type="slidenum">
              <a:rPr lang="en-US">
                <a:solidFill>
                  <a:srgbClr val="707070"/>
                </a:solidFill>
                <a:latin typeface="Arial"/>
              </a:rPr>
              <a:pPr defTabSz="976798"/>
              <a:t>1</a:t>
            </a:fld>
            <a:endParaRPr lang="en-US">
              <a:solidFill>
                <a:srgbClr val="707070"/>
              </a:solidFill>
              <a:latin typeface="Arial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468F762-DBE9-B565-3D0E-E6FEB545FC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7642" y="535893"/>
            <a:ext cx="3296133" cy="584775"/>
          </a:xfrm>
        </p:spPr>
        <p:txBody>
          <a:bodyPr/>
          <a:lstStyle/>
          <a:p>
            <a:r>
              <a:rPr lang="en-US" sz="1400" dirty="0">
                <a:solidFill>
                  <a:schemeClr val="tx1"/>
                </a:solidFill>
              </a:rPr>
              <a:t>Quick reference guide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PC41E-D, PC42E-T, PC42E-D SERIES</a:t>
            </a:r>
          </a:p>
        </p:txBody>
      </p:sp>
      <p:graphicFrame>
        <p:nvGraphicFramePr>
          <p:cNvPr id="21" name="Content Placeholder 6">
            <a:extLst>
              <a:ext uri="{FF2B5EF4-FFF2-40B4-BE49-F238E27FC236}">
                <a16:creationId xmlns:a16="http://schemas.microsoft.com/office/drawing/2014/main" id="{84B31D42-795D-AC8F-155E-769A286C2E9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88311095"/>
              </p:ext>
            </p:extLst>
          </p:nvPr>
        </p:nvGraphicFramePr>
        <p:xfrm>
          <a:off x="237745" y="1303019"/>
          <a:ext cx="11716612" cy="5170448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892807">
                  <a:extLst>
                    <a:ext uri="{9D8B030D-6E8A-4147-A177-3AD203B41FA5}">
                      <a16:colId xmlns:a16="http://schemas.microsoft.com/office/drawing/2014/main" val="292347462"/>
                    </a:ext>
                  </a:extLst>
                </a:gridCol>
                <a:gridCol w="1847540">
                  <a:extLst>
                    <a:ext uri="{9D8B030D-6E8A-4147-A177-3AD203B41FA5}">
                      <a16:colId xmlns:a16="http://schemas.microsoft.com/office/drawing/2014/main" val="2619760647"/>
                    </a:ext>
                  </a:extLst>
                </a:gridCol>
                <a:gridCol w="1069396">
                  <a:extLst>
                    <a:ext uri="{9D8B030D-6E8A-4147-A177-3AD203B41FA5}">
                      <a16:colId xmlns:a16="http://schemas.microsoft.com/office/drawing/2014/main" val="3438910903"/>
                    </a:ext>
                  </a:extLst>
                </a:gridCol>
                <a:gridCol w="1271509">
                  <a:extLst>
                    <a:ext uri="{9D8B030D-6E8A-4147-A177-3AD203B41FA5}">
                      <a16:colId xmlns:a16="http://schemas.microsoft.com/office/drawing/2014/main" val="2570975734"/>
                    </a:ext>
                  </a:extLst>
                </a:gridCol>
                <a:gridCol w="1131960">
                  <a:extLst>
                    <a:ext uri="{9D8B030D-6E8A-4147-A177-3AD203B41FA5}">
                      <a16:colId xmlns:a16="http://schemas.microsoft.com/office/drawing/2014/main" val="201477636"/>
                    </a:ext>
                  </a:extLst>
                </a:gridCol>
                <a:gridCol w="1373003">
                  <a:extLst>
                    <a:ext uri="{9D8B030D-6E8A-4147-A177-3AD203B41FA5}">
                      <a16:colId xmlns:a16="http://schemas.microsoft.com/office/drawing/2014/main" val="1441114871"/>
                    </a:ext>
                  </a:extLst>
                </a:gridCol>
                <a:gridCol w="1819656">
                  <a:extLst>
                    <a:ext uri="{9D8B030D-6E8A-4147-A177-3AD203B41FA5}">
                      <a16:colId xmlns:a16="http://schemas.microsoft.com/office/drawing/2014/main" val="3833666631"/>
                    </a:ext>
                  </a:extLst>
                </a:gridCol>
                <a:gridCol w="1310741">
                  <a:extLst>
                    <a:ext uri="{9D8B030D-6E8A-4147-A177-3AD203B41FA5}">
                      <a16:colId xmlns:a16="http://schemas.microsoft.com/office/drawing/2014/main" val="79369849"/>
                    </a:ext>
                  </a:extLst>
                </a:gridCol>
              </a:tblGrid>
              <a:tr h="108295">
                <a:tc>
                  <a:txBody>
                    <a:bodyPr/>
                    <a:lstStyle/>
                    <a:p>
                      <a:r>
                        <a:rPr lang="en-US" sz="900" dirty="0">
                          <a:latin typeface="+mj-lt"/>
                        </a:rPr>
                        <a:t>MODEL</a:t>
                      </a:r>
                    </a:p>
                  </a:txBody>
                  <a:tcPr marL="80683" marR="80683" marT="40341" marB="40341" anchor="ctr">
                    <a:solidFill>
                      <a:srgbClr val="DC202E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362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>
                          <a:solidFill>
                            <a:schemeClr val="bg1"/>
                          </a:solidFill>
                          <a:latin typeface="+mj-lt"/>
                        </a:rPr>
                        <a:t>PC41E-D</a:t>
                      </a:r>
                    </a:p>
                  </a:txBody>
                  <a:tcPr marL="80683" marR="80683" marT="40341" marB="40341" anchor="ctr">
                    <a:solidFill>
                      <a:srgbClr val="DC202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10362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>
                          <a:solidFill>
                            <a:schemeClr val="bg1"/>
                          </a:solidFill>
                          <a:latin typeface="+mj-lt"/>
                        </a:rPr>
                        <a:t>PC42E-T</a:t>
                      </a:r>
                    </a:p>
                  </a:txBody>
                  <a:tcPr marL="80683" marR="80683" marT="40341" marB="40341" anchor="ctr">
                    <a:solidFill>
                      <a:srgbClr val="DC202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10362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>
                          <a:solidFill>
                            <a:schemeClr val="bg1"/>
                          </a:solidFill>
                          <a:latin typeface="+mj-lt"/>
                        </a:rPr>
                        <a:t>PC42E-D</a:t>
                      </a:r>
                    </a:p>
                  </a:txBody>
                  <a:tcPr marL="80683" marR="80683" marT="40341" marB="40341" anchor="ctr">
                    <a:solidFill>
                      <a:srgbClr val="DC202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2668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850" b="1" dirty="0">
                          <a:solidFill>
                            <a:schemeClr val="bg1"/>
                          </a:solidFill>
                          <a:latin typeface="+mj-lt"/>
                        </a:rPr>
                        <a:t>POSTIONING</a:t>
                      </a:r>
                    </a:p>
                  </a:txBody>
                  <a:tcPr marL="80683" marR="80683" marT="40341" marB="40341" anchor="ctr"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850" b="1" kern="1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Entry Level </a:t>
                      </a:r>
                    </a:p>
                  </a:txBody>
                  <a:tcPr marL="80683" marR="80683" marT="40341" marB="40341" anchor="ctr"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850" b="1" kern="1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Entry Level </a:t>
                      </a:r>
                    </a:p>
                  </a:txBody>
                  <a:tcPr marL="80683" marR="80683" marT="40341" marB="40341" anchor="ctr"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850" b="1" kern="1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Entry/Mid Level </a:t>
                      </a:r>
                    </a:p>
                  </a:txBody>
                  <a:tcPr marL="80683" marR="80683" marT="40341" marB="40341" anchor="ctr"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963876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850" b="1" dirty="0">
                          <a:solidFill>
                            <a:schemeClr val="tx1"/>
                          </a:solidFill>
                          <a:latin typeface="+mn-lt"/>
                        </a:rPr>
                        <a:t>Key Benefits and Features</a:t>
                      </a:r>
                    </a:p>
                  </a:txBody>
                  <a:tcPr marL="80683" marR="80683" marT="40341" marB="40341" anchor="ctr"/>
                </a:tc>
                <a:tc gridSpan="2">
                  <a:txBody>
                    <a:bodyPr/>
                    <a:lstStyle/>
                    <a:p>
                      <a:pPr marL="0" marR="0" lvl="0" indent="0" algn="ctr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50" dirty="0"/>
                        <a:t>Budget Friendly </a:t>
                      </a:r>
                      <a:r>
                        <a:rPr lang="en-US" sz="85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● </a:t>
                      </a:r>
                      <a:r>
                        <a:rPr lang="en-US" sz="850" dirty="0"/>
                        <a:t>Compact </a:t>
                      </a:r>
                      <a:r>
                        <a:rPr lang="en-US" sz="85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●</a:t>
                      </a:r>
                      <a:r>
                        <a:rPr lang="en-US" sz="850" dirty="0"/>
                        <a:t> Fast Printing </a:t>
                      </a:r>
                    </a:p>
                    <a:p>
                      <a:pPr marL="0" marR="0" lvl="0" indent="0" algn="ctr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50" dirty="0"/>
                        <a:t>High Resolution </a:t>
                      </a:r>
                      <a:r>
                        <a:rPr lang="en-US" sz="85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●</a:t>
                      </a:r>
                      <a:r>
                        <a:rPr lang="en-US" sz="850" dirty="0"/>
                        <a:t> Simple to Install</a:t>
                      </a:r>
                      <a:endParaRPr lang="en-US" sz="85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0683" marR="80683" marT="40341" marB="40341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50" b="0" dirty="0"/>
                        <a:t>Budget Friendly </a:t>
                      </a:r>
                      <a:r>
                        <a:rPr lang="en-US" sz="85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● </a:t>
                      </a:r>
                      <a:r>
                        <a:rPr lang="en-US" sz="850" b="0" dirty="0"/>
                        <a:t>High Resolution </a:t>
                      </a:r>
                      <a:r>
                        <a:rPr lang="en-US" sz="85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●</a:t>
                      </a:r>
                      <a:r>
                        <a:rPr lang="en-US" sz="850" b="0" dirty="0"/>
                        <a:t> Connectivity Upgrades                          </a:t>
                      </a:r>
                      <a:r>
                        <a:rPr lang="en-US" sz="85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50" b="0" dirty="0"/>
                        <a:t>Multiple Accessories </a:t>
                      </a:r>
                      <a:r>
                        <a:rPr lang="en-US" sz="85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● </a:t>
                      </a:r>
                      <a:r>
                        <a:rPr lang="en-US" sz="850" b="0" dirty="0"/>
                        <a:t>Color Options </a:t>
                      </a:r>
                      <a:r>
                        <a:rPr lang="en-US" sz="85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●</a:t>
                      </a:r>
                      <a:r>
                        <a:rPr lang="en-US" sz="850" dirty="0"/>
                        <a:t> Simple to Install</a:t>
                      </a:r>
                      <a:endParaRPr lang="en-US" sz="85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0683" marR="80683" marT="40341" marB="40341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50" b="0" dirty="0">
                          <a:solidFill>
                            <a:schemeClr val="tx1"/>
                          </a:solidFill>
                        </a:rPr>
                        <a:t>Budget Friendly </a:t>
                      </a:r>
                      <a:r>
                        <a:rPr lang="en-US" sz="85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● </a:t>
                      </a:r>
                      <a:r>
                        <a:rPr lang="en-US" sz="850" b="0" dirty="0">
                          <a:solidFill>
                            <a:schemeClr val="tx1"/>
                          </a:solidFill>
                        </a:rPr>
                        <a:t>Compact </a:t>
                      </a:r>
                      <a:r>
                        <a:rPr lang="en-US" sz="85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● </a:t>
                      </a:r>
                      <a:r>
                        <a:rPr lang="en-US" sz="850" b="0" dirty="0">
                          <a:solidFill>
                            <a:schemeClr val="tx1"/>
                          </a:solidFill>
                        </a:rPr>
                        <a:t>Fast Printing </a:t>
                      </a:r>
                      <a:r>
                        <a:rPr lang="en-US" sz="85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● </a:t>
                      </a:r>
                      <a:r>
                        <a:rPr lang="en-US" sz="850" b="0" dirty="0">
                          <a:solidFill>
                            <a:schemeClr val="tx1"/>
                          </a:solidFill>
                        </a:rPr>
                        <a:t>High Resolution      Robust Storage </a:t>
                      </a:r>
                      <a:r>
                        <a:rPr lang="en-US" sz="85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● </a:t>
                      </a:r>
                      <a:r>
                        <a:rPr lang="en-US" sz="850" b="0" dirty="0">
                          <a:solidFill>
                            <a:schemeClr val="tx1"/>
                          </a:solidFill>
                        </a:rPr>
                        <a:t>Connectivity Upgrades </a:t>
                      </a:r>
                      <a:r>
                        <a:rPr lang="en-US" sz="85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●</a:t>
                      </a:r>
                      <a:r>
                        <a:rPr lang="en-US" sz="850" b="0" dirty="0">
                          <a:solidFill>
                            <a:schemeClr val="tx1"/>
                          </a:solidFill>
                        </a:rPr>
                        <a:t> Multiple Accessories </a:t>
                      </a:r>
                      <a:r>
                        <a:rPr lang="en-US" sz="85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● </a:t>
                      </a:r>
                      <a:r>
                        <a:rPr lang="en-US" sz="850" b="0" dirty="0">
                          <a:solidFill>
                            <a:schemeClr val="tx1"/>
                          </a:solidFill>
                        </a:rPr>
                        <a:t>Low Media Sensing Model </a:t>
                      </a:r>
                    </a:p>
                    <a:p>
                      <a:pPr marL="0" marR="0" lvl="0" indent="0" algn="ctr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50" b="0" dirty="0">
                          <a:solidFill>
                            <a:schemeClr val="tx1"/>
                          </a:solidFill>
                        </a:rPr>
                        <a:t>Color Options </a:t>
                      </a:r>
                      <a:r>
                        <a:rPr lang="en-US" sz="85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●</a:t>
                      </a:r>
                      <a:r>
                        <a:rPr lang="en-US" sz="850" b="0" dirty="0">
                          <a:solidFill>
                            <a:schemeClr val="tx1"/>
                          </a:solidFill>
                        </a:rPr>
                        <a:t> Simple to Install</a:t>
                      </a:r>
                      <a:endParaRPr lang="en-US" sz="85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0683" marR="80683" marT="40341" marB="40341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6972619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50" b="1" dirty="0">
                          <a:solidFill>
                            <a:schemeClr val="tx1"/>
                          </a:solidFill>
                          <a:latin typeface="+mn-lt"/>
                        </a:rPr>
                        <a:t>Print Technology</a:t>
                      </a:r>
                    </a:p>
                  </a:txBody>
                  <a:tcPr marL="80683" marR="80683" marT="40341" marB="40341"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850" b="0" dirty="0">
                          <a:solidFill>
                            <a:schemeClr val="tx1"/>
                          </a:solidFill>
                          <a:latin typeface="+mn-lt"/>
                        </a:rPr>
                        <a:t>Direct Thermal  </a:t>
                      </a:r>
                      <a:r>
                        <a:rPr lang="en-US" sz="850" dirty="0"/>
                        <a:t> </a:t>
                      </a:r>
                      <a:r>
                        <a:rPr lang="en-US" sz="85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●</a:t>
                      </a:r>
                      <a:r>
                        <a:rPr lang="en-US" sz="850" dirty="0"/>
                        <a:t>  No Ribbon Needed</a:t>
                      </a:r>
                      <a:endParaRPr lang="en-US" sz="85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0512" marR="60512" marT="30256" marB="30256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850" b="0" dirty="0">
                          <a:solidFill>
                            <a:schemeClr val="tx1"/>
                          </a:solidFill>
                          <a:latin typeface="+mn-lt"/>
                        </a:rPr>
                        <a:t>Thermal Transfer </a:t>
                      </a:r>
                      <a:r>
                        <a:rPr lang="en-US" sz="85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●</a:t>
                      </a:r>
                      <a:r>
                        <a:rPr lang="en-US" sz="850" dirty="0"/>
                        <a:t> Ribbon Required</a:t>
                      </a:r>
                      <a:endParaRPr lang="en-US" sz="85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0512" marR="60512" marT="30256" marB="30256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50" b="0" dirty="0">
                          <a:solidFill>
                            <a:schemeClr val="tx1"/>
                          </a:solidFill>
                          <a:latin typeface="+mn-lt"/>
                        </a:rPr>
                        <a:t>Direct Thermal  </a:t>
                      </a:r>
                      <a:r>
                        <a:rPr lang="en-US" sz="850" dirty="0"/>
                        <a:t> </a:t>
                      </a:r>
                      <a:r>
                        <a:rPr lang="en-US" sz="85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●</a:t>
                      </a:r>
                      <a:r>
                        <a:rPr lang="en-US" sz="850" dirty="0"/>
                        <a:t>  No Ribbon Needed</a:t>
                      </a:r>
                      <a:endParaRPr lang="en-US" sz="85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0512" marR="60512" marT="30256" marB="30256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11346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50" b="1" dirty="0">
                          <a:solidFill>
                            <a:schemeClr val="tx1"/>
                          </a:solidFill>
                          <a:latin typeface="+mn-lt"/>
                        </a:rPr>
                        <a:t>Label Requirement</a:t>
                      </a:r>
                    </a:p>
                  </a:txBody>
                  <a:tcPr marL="80683" marR="80683" marT="40341" marB="40341"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850" b="0" dirty="0">
                          <a:solidFill>
                            <a:schemeClr val="tx1"/>
                          </a:solidFill>
                          <a:latin typeface="+mn-lt"/>
                        </a:rPr>
                        <a:t>Short Duration Required</a:t>
                      </a:r>
                    </a:p>
                  </a:txBody>
                  <a:tcPr marL="60512" marR="60512" marT="30256" marB="30256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850" b="0" dirty="0">
                          <a:solidFill>
                            <a:schemeClr val="tx1"/>
                          </a:solidFill>
                          <a:latin typeface="+mn-lt"/>
                        </a:rPr>
                        <a:t>Long Lasting</a:t>
                      </a:r>
                      <a:endParaRPr lang="en-US" sz="85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US" sz="85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rsh Environments, Diverse Label Material, Fade Resistant                                                                                </a:t>
                      </a:r>
                      <a:endParaRPr lang="en-US" sz="85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0512" marR="60512" marT="30256" marB="30256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850" b="0" dirty="0">
                          <a:solidFill>
                            <a:schemeClr val="tx1"/>
                          </a:solidFill>
                          <a:latin typeface="+mn-lt"/>
                        </a:rPr>
                        <a:t>Short Duration Required</a:t>
                      </a:r>
                    </a:p>
                  </a:txBody>
                  <a:tcPr marL="60512" marR="60512" marT="30256" marB="30256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7234774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850" b="1" dirty="0">
                          <a:solidFill>
                            <a:schemeClr val="tx1"/>
                          </a:solidFill>
                          <a:latin typeface="+mn-lt"/>
                        </a:rPr>
                        <a:t>Primary Vertical </a:t>
                      </a:r>
                    </a:p>
                  </a:txBody>
                  <a:tcPr marL="80683" marR="80683" marT="40341" marB="40341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850" kern="100" dirty="0">
                          <a:effectLst/>
                          <a:latin typeface="+mn-lt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Retail &amp; E-Commerce</a:t>
                      </a:r>
                    </a:p>
                  </a:txBody>
                  <a:tcPr marL="80683" marR="80683" marT="40341" marB="40341" anchor="ctr"/>
                </a:tc>
                <a:tc>
                  <a:txBody>
                    <a:bodyPr/>
                    <a:lstStyle/>
                    <a:p>
                      <a:pPr marL="0" marR="0" lvl="0" indent="0" algn="ctr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50" kern="100" dirty="0"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TWL/Parcel/Postal</a:t>
                      </a:r>
                    </a:p>
                  </a:txBody>
                  <a:tcPr marL="80683" marR="80683" marT="40341" marB="40341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850" kern="100" dirty="0"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Retail</a:t>
                      </a:r>
                    </a:p>
                  </a:txBody>
                  <a:tcPr marL="80683" marR="80683" marT="40341" marB="40341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850" kern="100" dirty="0"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TWL</a:t>
                      </a:r>
                    </a:p>
                  </a:txBody>
                  <a:tcPr marL="80683" marR="80683" marT="40341" marB="40341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850" kern="100" dirty="0">
                          <a:effectLst/>
                          <a:latin typeface="+mn-lt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Light Manufacturing</a:t>
                      </a:r>
                    </a:p>
                  </a:txBody>
                  <a:tcPr marL="80683" marR="80683" marT="40341" marB="40341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850" kern="100" dirty="0">
                          <a:effectLst/>
                          <a:latin typeface="+mn-lt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Retail &amp; E-Commerce</a:t>
                      </a:r>
                    </a:p>
                  </a:txBody>
                  <a:tcPr marL="80683" marR="80683" marT="40341" marB="40341" anchor="ctr"/>
                </a:tc>
                <a:tc>
                  <a:txBody>
                    <a:bodyPr/>
                    <a:lstStyle/>
                    <a:p>
                      <a:pPr marL="0" marR="0" lvl="0" indent="0" algn="ctr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50" kern="100" dirty="0"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TWL/Parcel/Postal</a:t>
                      </a:r>
                    </a:p>
                  </a:txBody>
                  <a:tcPr marL="80683" marR="80683" marT="40341" marB="40341" anchor="ctr"/>
                </a:tc>
                <a:extLst>
                  <a:ext uri="{0D108BD9-81ED-4DB2-BD59-A6C34878D82A}">
                    <a16:rowId xmlns:a16="http://schemas.microsoft.com/office/drawing/2014/main" val="223456435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850" b="1" dirty="0">
                          <a:solidFill>
                            <a:schemeClr val="tx1"/>
                          </a:solidFill>
                          <a:latin typeface="+mn-lt"/>
                        </a:rPr>
                        <a:t>Primary Applications</a:t>
                      </a:r>
                    </a:p>
                    <a:p>
                      <a:pPr algn="l"/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n-lt"/>
                        </a:rPr>
                        <a:t>(but not limited to)</a:t>
                      </a:r>
                    </a:p>
                  </a:txBody>
                  <a:tcPr marL="80683" marR="80683" marT="40341" marB="40341"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50" dirty="0"/>
                        <a:t>Receipt Printing</a:t>
                      </a:r>
                    </a:p>
                    <a:p>
                      <a:pPr marL="171450" marR="0" lvl="0" indent="-171450" algn="l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50" dirty="0"/>
                        <a:t>Click &amp; Collect</a:t>
                      </a:r>
                    </a:p>
                    <a:p>
                      <a:pPr marL="171450" marR="0" lvl="0" indent="-171450" algn="l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50" dirty="0"/>
                        <a:t>Price Mark-Down &amp; Promos</a:t>
                      </a:r>
                    </a:p>
                    <a:p>
                      <a:pPr marL="171450" marR="0" lvl="0" indent="-171450" algn="l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50" b="0" dirty="0">
                          <a:solidFill>
                            <a:schemeClr val="tx1"/>
                          </a:solidFill>
                          <a:latin typeface="+mn-lt"/>
                        </a:rPr>
                        <a:t>POS</a:t>
                      </a:r>
                    </a:p>
                    <a:p>
                      <a:pPr marL="171450" marR="0" lvl="0" indent="-171450" algn="l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50" b="0" dirty="0">
                          <a:solidFill>
                            <a:schemeClr val="tx1"/>
                          </a:solidFill>
                          <a:latin typeface="+mn-lt"/>
                        </a:rPr>
                        <a:t>Perishable Food/Scale Items</a:t>
                      </a:r>
                    </a:p>
                  </a:txBody>
                  <a:tcPr marL="80683" marR="80683" marT="40341" marB="40341"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85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hipping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85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ceiving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85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D/Returns</a:t>
                      </a:r>
                    </a:p>
                  </a:txBody>
                  <a:tcPr marL="80683" marR="80683" marT="40341" marB="40341"/>
                </a:tc>
                <a:tc>
                  <a:txBody>
                    <a:bodyPr/>
                    <a:lstStyle/>
                    <a:p>
                      <a:pPr marL="171450" marR="0" lvl="0" indent="-171450" algn="l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50" b="0" dirty="0">
                          <a:solidFill>
                            <a:schemeClr val="tx1"/>
                          </a:solidFill>
                          <a:latin typeface="+mn-lt"/>
                        </a:rPr>
                        <a:t>Color Branding</a:t>
                      </a:r>
                    </a:p>
                    <a:p>
                      <a:pPr marL="171450" marR="0" lvl="0" indent="-171450" algn="l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50" b="0" dirty="0">
                          <a:solidFill>
                            <a:schemeClr val="tx1"/>
                          </a:solidFill>
                          <a:latin typeface="+mn-lt"/>
                        </a:rPr>
                        <a:t>Long-term Shelf Labeling</a:t>
                      </a:r>
                    </a:p>
                    <a:p>
                      <a:pPr marL="171450" marR="0" lvl="0" indent="-171450" algn="l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50" b="0" dirty="0">
                          <a:solidFill>
                            <a:schemeClr val="tx1"/>
                          </a:solidFill>
                          <a:latin typeface="+mn-lt"/>
                        </a:rPr>
                        <a:t>Asset Tracking</a:t>
                      </a:r>
                    </a:p>
                    <a:p>
                      <a:pPr marL="171450" marR="0" lvl="0" indent="-171450" algn="l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50" b="0" dirty="0">
                          <a:solidFill>
                            <a:schemeClr val="tx1"/>
                          </a:solidFill>
                          <a:latin typeface="+mn-lt"/>
                        </a:rPr>
                        <a:t>Inventory tags</a:t>
                      </a:r>
                    </a:p>
                    <a:p>
                      <a:pPr marL="171450" marR="0" lvl="0" indent="-171450" algn="l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50" b="0" dirty="0">
                          <a:solidFill>
                            <a:schemeClr val="tx1"/>
                          </a:solidFill>
                          <a:latin typeface="+mn-lt"/>
                        </a:rPr>
                        <a:t>Cold /Hot storage</a:t>
                      </a:r>
                    </a:p>
                  </a:txBody>
                  <a:tcPr marL="80683" marR="80683" marT="40341" marB="40341"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85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icking/Packing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85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ventory Mgt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85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d Storag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85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utdoor Storage</a:t>
                      </a:r>
                    </a:p>
                  </a:txBody>
                  <a:tcPr marL="80683" marR="80683" marT="40341" marB="40341"/>
                </a:tc>
                <a:tc>
                  <a:txBody>
                    <a:bodyPr/>
                    <a:lstStyle/>
                    <a:p>
                      <a:pPr marL="171450" marR="0" lvl="0" indent="-171450" algn="l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5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set Tracking</a:t>
                      </a:r>
                    </a:p>
                    <a:p>
                      <a:pPr marL="171450" marR="0" lvl="0" indent="-171450" algn="l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5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pliance/Safety</a:t>
                      </a:r>
                    </a:p>
                    <a:p>
                      <a:pPr marL="171450" marR="0" lvl="0" indent="-171450" algn="l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5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ventory</a:t>
                      </a:r>
                    </a:p>
                    <a:p>
                      <a:pPr marL="171450" marR="0" lvl="0" indent="-171450" algn="l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5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duct Label</a:t>
                      </a:r>
                    </a:p>
                    <a:p>
                      <a:pPr marL="171450" marR="0" lvl="0" indent="-171450" algn="l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5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L Labeling</a:t>
                      </a:r>
                      <a:endParaRPr lang="en-US" sz="85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0683" marR="80683" marT="40341" marB="40341"/>
                </a:tc>
                <a:tc>
                  <a:txBody>
                    <a:bodyPr/>
                    <a:lstStyle/>
                    <a:p>
                      <a:pPr marL="171450" marR="0" lvl="0" indent="-171450" algn="l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50" dirty="0"/>
                        <a:t>Receipt Printing</a:t>
                      </a:r>
                    </a:p>
                    <a:p>
                      <a:pPr marL="171450" marR="0" lvl="0" indent="-171450" algn="l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50" dirty="0"/>
                        <a:t>Click &amp; Collect</a:t>
                      </a:r>
                    </a:p>
                    <a:p>
                      <a:pPr marL="171450" marR="0" lvl="0" indent="-171450" algn="l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50" dirty="0"/>
                        <a:t>Price Mark-Down &amp; Promos</a:t>
                      </a:r>
                    </a:p>
                    <a:p>
                      <a:pPr marL="171450" marR="0" lvl="0" indent="-171450" algn="l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50" b="0" dirty="0">
                          <a:solidFill>
                            <a:schemeClr val="tx1"/>
                          </a:solidFill>
                          <a:latin typeface="+mn-lt"/>
                        </a:rPr>
                        <a:t>POS</a:t>
                      </a:r>
                    </a:p>
                    <a:p>
                      <a:pPr marL="171450" marR="0" lvl="0" indent="-171450" algn="l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50" b="0" dirty="0">
                          <a:solidFill>
                            <a:schemeClr val="tx1"/>
                          </a:solidFill>
                          <a:latin typeface="+mn-lt"/>
                        </a:rPr>
                        <a:t>Perishable Food/Scale Items</a:t>
                      </a:r>
                    </a:p>
                  </a:txBody>
                  <a:tcPr marL="80683" marR="80683" marT="40341" marB="40341"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85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hipping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85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ceiving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85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D/Returns</a:t>
                      </a:r>
                    </a:p>
                  </a:txBody>
                  <a:tcPr marL="80683" marR="80683" marT="40341" marB="40341"/>
                </a:tc>
                <a:extLst>
                  <a:ext uri="{0D108BD9-81ED-4DB2-BD59-A6C34878D82A}">
                    <a16:rowId xmlns:a16="http://schemas.microsoft.com/office/drawing/2014/main" val="27494771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50" b="1" dirty="0">
                          <a:solidFill>
                            <a:schemeClr val="tx1"/>
                          </a:solidFill>
                          <a:latin typeface="+mn-lt"/>
                        </a:rPr>
                        <a:t>Labels per Day (up to)</a:t>
                      </a:r>
                    </a:p>
                  </a:txBody>
                  <a:tcPr marL="80683" marR="80683" marT="40341" marB="40341"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850" b="0" dirty="0">
                          <a:solidFill>
                            <a:schemeClr val="tx1"/>
                          </a:solidFill>
                          <a:latin typeface="+mn-lt"/>
                        </a:rPr>
                        <a:t>1,000</a:t>
                      </a:r>
                    </a:p>
                  </a:txBody>
                  <a:tcPr marL="60512" marR="60512" marT="30256" marB="30256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850" b="0" dirty="0">
                          <a:solidFill>
                            <a:schemeClr val="tx1"/>
                          </a:solidFill>
                          <a:latin typeface="+mn-lt"/>
                        </a:rPr>
                        <a:t>1,000</a:t>
                      </a:r>
                    </a:p>
                  </a:txBody>
                  <a:tcPr marL="60512" marR="60512" marT="30256" marB="30256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850" b="0" dirty="0">
                          <a:solidFill>
                            <a:schemeClr val="tx1"/>
                          </a:solidFill>
                          <a:latin typeface="+mn-lt"/>
                        </a:rPr>
                        <a:t>1,000</a:t>
                      </a:r>
                    </a:p>
                  </a:txBody>
                  <a:tcPr marL="60512" marR="60512" marT="30256" marB="30256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41397730"/>
                  </a:ext>
                </a:extLst>
              </a:tr>
              <a:tr h="214806">
                <a:tc>
                  <a:txBody>
                    <a:bodyPr/>
                    <a:lstStyle/>
                    <a:p>
                      <a:pPr algn="l"/>
                      <a:r>
                        <a:rPr lang="en-US" sz="850" b="1" dirty="0">
                          <a:solidFill>
                            <a:schemeClr val="tx1"/>
                          </a:solidFill>
                          <a:latin typeface="+mn-lt"/>
                        </a:rPr>
                        <a:t>User Interface</a:t>
                      </a:r>
                    </a:p>
                  </a:txBody>
                  <a:tcPr marL="80683" marR="80683" marT="40341" marB="40341" anchor="ctr"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850" kern="100" dirty="0">
                          <a:effectLst/>
                          <a:latin typeface="+mn-lt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1-Button </a:t>
                      </a:r>
                      <a:r>
                        <a:rPr lang="en-US" sz="85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●</a:t>
                      </a:r>
                      <a:r>
                        <a:rPr lang="en-US" sz="850" kern="100" dirty="0">
                          <a:effectLst/>
                          <a:latin typeface="+mn-lt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 1-Led</a:t>
                      </a:r>
                    </a:p>
                  </a:txBody>
                  <a:tcPr marL="80683" marR="80683" marT="40341" marB="40341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50" kern="100" dirty="0">
                          <a:effectLst/>
                          <a:latin typeface="+mn-lt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1-Button </a:t>
                      </a:r>
                      <a:r>
                        <a:rPr lang="en-US" sz="85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● </a:t>
                      </a:r>
                      <a:r>
                        <a:rPr lang="en-US" sz="850" kern="100" dirty="0">
                          <a:effectLst/>
                          <a:latin typeface="+mn-lt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1-Led</a:t>
                      </a:r>
                    </a:p>
                  </a:txBody>
                  <a:tcPr marL="80683" marR="80683" marT="40341" marB="40341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kumimoji="0" lang="en-US" sz="8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Multi Led  </a:t>
                      </a:r>
                      <a:r>
                        <a:rPr lang="en-US" sz="85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● </a:t>
                      </a:r>
                      <a:r>
                        <a:rPr kumimoji="0" lang="en-US" sz="8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Multi Button</a:t>
                      </a:r>
                      <a:endParaRPr lang="en-US" sz="850" kern="100" dirty="0">
                        <a:effectLst/>
                        <a:latin typeface="+mn-lt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683" marR="80683" marT="40341" marB="40341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656912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850" b="1" dirty="0">
                          <a:solidFill>
                            <a:schemeClr val="tx1"/>
                          </a:solidFill>
                          <a:latin typeface="+mn-lt"/>
                        </a:rPr>
                        <a:t>Memory</a:t>
                      </a:r>
                    </a:p>
                  </a:txBody>
                  <a:tcPr marL="80683" marR="80683" marT="40341" marB="40341" anchor="ctr"/>
                </a:tc>
                <a:tc gridSpan="2">
                  <a:txBody>
                    <a:bodyPr/>
                    <a:lstStyle/>
                    <a:p>
                      <a:pPr marL="0" marR="0" lvl="0" indent="0" algn="ctr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50" b="0" dirty="0">
                          <a:solidFill>
                            <a:schemeClr val="tx1"/>
                          </a:solidFill>
                          <a:latin typeface="+mn-lt"/>
                        </a:rPr>
                        <a:t>128 MB</a:t>
                      </a:r>
                    </a:p>
                  </a:txBody>
                  <a:tcPr marL="80683" marR="80683" marT="40341" marB="40341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50" b="0" dirty="0">
                          <a:solidFill>
                            <a:schemeClr val="tx1"/>
                          </a:solidFill>
                          <a:latin typeface="+mn-lt"/>
                        </a:rPr>
                        <a:t>128 MB</a:t>
                      </a:r>
                    </a:p>
                  </a:txBody>
                  <a:tcPr marL="80683" marR="80683" marT="40341" marB="40341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50" b="0" dirty="0">
                          <a:solidFill>
                            <a:schemeClr val="tx1"/>
                          </a:solidFill>
                          <a:latin typeface="+mn-lt"/>
                        </a:rPr>
                        <a:t>256 MB</a:t>
                      </a:r>
                    </a:p>
                  </a:txBody>
                  <a:tcPr marL="80683" marR="80683" marT="40341" marB="40341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2013131"/>
                  </a:ext>
                </a:extLst>
              </a:tr>
              <a:tr h="214806">
                <a:tc>
                  <a:txBody>
                    <a:bodyPr/>
                    <a:lstStyle/>
                    <a:p>
                      <a:pPr marL="0" marR="0" lvl="0" indent="0" algn="l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50" b="1" dirty="0">
                          <a:solidFill>
                            <a:schemeClr val="tx1"/>
                          </a:solidFill>
                          <a:latin typeface="+mn-lt"/>
                        </a:rPr>
                        <a:t>Maximum Print Speed</a:t>
                      </a:r>
                    </a:p>
                  </a:txBody>
                  <a:tcPr marL="80683" marR="80683" marT="40341" marB="40341"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850" b="0" dirty="0">
                          <a:solidFill>
                            <a:schemeClr val="tx1"/>
                          </a:solidFill>
                          <a:latin typeface="+mn-lt"/>
                        </a:rPr>
                        <a:t>203dpi:up to 8ips </a:t>
                      </a:r>
                      <a:r>
                        <a:rPr lang="en-US" sz="85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● </a:t>
                      </a:r>
                      <a:r>
                        <a:rPr lang="en-US" sz="850" b="0" dirty="0">
                          <a:solidFill>
                            <a:schemeClr val="tx1"/>
                          </a:solidFill>
                          <a:latin typeface="+mn-lt"/>
                        </a:rPr>
                        <a:t>300dpi:up to 6ips </a:t>
                      </a:r>
                    </a:p>
                  </a:txBody>
                  <a:tcPr marL="60512" marR="60512" marT="30256" marB="30256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850" b="0" dirty="0">
                          <a:solidFill>
                            <a:schemeClr val="tx1"/>
                          </a:solidFill>
                          <a:latin typeface="+mn-lt"/>
                        </a:rPr>
                        <a:t>203dpi:up to 6ips </a:t>
                      </a:r>
                      <a:r>
                        <a:rPr lang="en-US" sz="85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● </a:t>
                      </a:r>
                      <a:r>
                        <a:rPr lang="en-US" sz="850" b="0" dirty="0">
                          <a:solidFill>
                            <a:schemeClr val="tx1"/>
                          </a:solidFill>
                          <a:latin typeface="+mn-lt"/>
                        </a:rPr>
                        <a:t>300dpi:up to 5ips </a:t>
                      </a:r>
                    </a:p>
                  </a:txBody>
                  <a:tcPr marL="60512" marR="60512" marT="30256" marB="30256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850" b="0" dirty="0">
                          <a:solidFill>
                            <a:schemeClr val="tx1"/>
                          </a:solidFill>
                          <a:latin typeface="+mn-lt"/>
                        </a:rPr>
                        <a:t>203dpi:up to 8ips </a:t>
                      </a:r>
                      <a:r>
                        <a:rPr lang="en-US" sz="85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● </a:t>
                      </a:r>
                      <a:r>
                        <a:rPr lang="en-US" sz="850" b="0" dirty="0">
                          <a:solidFill>
                            <a:schemeClr val="tx1"/>
                          </a:solidFill>
                          <a:latin typeface="+mn-lt"/>
                        </a:rPr>
                        <a:t>300dpi:up to 6ips </a:t>
                      </a:r>
                    </a:p>
                  </a:txBody>
                  <a:tcPr marL="60512" marR="60512" marT="30256" marB="30256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0558005"/>
                  </a:ext>
                </a:extLst>
              </a:tr>
              <a:tr h="214806">
                <a:tc>
                  <a:txBody>
                    <a:bodyPr/>
                    <a:lstStyle/>
                    <a:p>
                      <a:pPr marL="0" marR="0" lvl="0" indent="0" algn="l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50" b="1" dirty="0">
                          <a:solidFill>
                            <a:schemeClr val="tx1"/>
                          </a:solidFill>
                          <a:latin typeface="+mn-lt"/>
                        </a:rPr>
                        <a:t>Resolution</a:t>
                      </a:r>
                    </a:p>
                  </a:txBody>
                  <a:tcPr marL="80683" marR="80683" marT="40341" marB="40341" anchor="ctr"/>
                </a:tc>
                <a:tc gridSpan="2">
                  <a:txBody>
                    <a:bodyPr/>
                    <a:lstStyle/>
                    <a:p>
                      <a:pPr marL="0" marR="0" lvl="0" indent="0" algn="ctr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50" dirty="0">
                          <a:latin typeface="+mn-lt"/>
                        </a:rPr>
                        <a:t>203dpi (8 dots/mm) </a:t>
                      </a:r>
                      <a:r>
                        <a:rPr lang="en-US" sz="85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● </a:t>
                      </a:r>
                      <a:r>
                        <a:rPr lang="en-US" sz="850" dirty="0">
                          <a:latin typeface="+mn-lt"/>
                        </a:rPr>
                        <a:t>300dpi (12 dots/mm)</a:t>
                      </a:r>
                      <a:endParaRPr lang="en-US" sz="85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0512" marR="60512" marT="30256" marB="30256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850" dirty="0">
                          <a:latin typeface="+mn-lt"/>
                        </a:rPr>
                        <a:t>203dpi (8 dots/mm) </a:t>
                      </a:r>
                      <a:r>
                        <a:rPr lang="en-US" sz="85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● </a:t>
                      </a:r>
                      <a:r>
                        <a:rPr lang="en-US" sz="850" dirty="0">
                          <a:latin typeface="+mn-lt"/>
                        </a:rPr>
                        <a:t>300dpi (12 dots/mm)</a:t>
                      </a:r>
                      <a:endParaRPr lang="en-US" sz="85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0512" marR="60512" marT="30256" marB="30256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50" dirty="0">
                          <a:latin typeface="+mn-lt"/>
                        </a:rPr>
                        <a:t>203dpi (8 dots/mm) </a:t>
                      </a:r>
                      <a:r>
                        <a:rPr lang="en-US" sz="85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● </a:t>
                      </a:r>
                      <a:r>
                        <a:rPr lang="en-US" sz="850" dirty="0">
                          <a:latin typeface="+mn-lt"/>
                        </a:rPr>
                        <a:t> 300dpi (12 dots/mm)</a:t>
                      </a:r>
                      <a:endParaRPr lang="en-US" sz="85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0512" marR="60512" marT="30256" marB="30256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7371047"/>
                  </a:ext>
                </a:extLst>
              </a:tr>
              <a:tr h="214806">
                <a:tc>
                  <a:txBody>
                    <a:bodyPr/>
                    <a:lstStyle/>
                    <a:p>
                      <a:pPr marL="0" marR="0" lvl="0" indent="0" algn="l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50" b="1" dirty="0">
                          <a:solidFill>
                            <a:schemeClr val="tx1"/>
                          </a:solidFill>
                          <a:latin typeface="+mn-lt"/>
                        </a:rPr>
                        <a:t>Maximum Print Width</a:t>
                      </a:r>
                    </a:p>
                  </a:txBody>
                  <a:tcPr marL="80683" marR="80683" marT="40341" marB="40341" anchor="ctr"/>
                </a:tc>
                <a:tc gridSpan="2">
                  <a:txBody>
                    <a:bodyPr/>
                    <a:lstStyle/>
                    <a:p>
                      <a:pPr marL="0" marR="0" lvl="0" indent="0" algn="ctr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50" b="0" dirty="0">
                          <a:solidFill>
                            <a:schemeClr val="tx1"/>
                          </a:solidFill>
                          <a:latin typeface="+mn-lt"/>
                        </a:rPr>
                        <a:t>4.25 in (108 mm)</a:t>
                      </a:r>
                    </a:p>
                  </a:txBody>
                  <a:tcPr marL="60512" marR="60512" marT="30256" marB="30256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850" b="0" dirty="0">
                          <a:solidFill>
                            <a:schemeClr val="tx1"/>
                          </a:solidFill>
                          <a:latin typeface="+mn-lt"/>
                        </a:rPr>
                        <a:t>4.25 in (108 mm)</a:t>
                      </a:r>
                    </a:p>
                  </a:txBody>
                  <a:tcPr marL="60512" marR="60512" marT="30256" marB="30256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50" b="0" dirty="0">
                          <a:solidFill>
                            <a:schemeClr val="tx1"/>
                          </a:solidFill>
                          <a:latin typeface="+mn-lt"/>
                        </a:rPr>
                        <a:t>4.25 in (108 mm)</a:t>
                      </a:r>
                    </a:p>
                  </a:txBody>
                  <a:tcPr marL="60512" marR="60512" marT="30256" marB="30256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75720043"/>
                  </a:ext>
                </a:extLst>
              </a:tr>
              <a:tr h="214806">
                <a:tc>
                  <a:txBody>
                    <a:bodyPr/>
                    <a:lstStyle/>
                    <a:p>
                      <a:pPr marL="0" marR="0" lvl="0" indent="0" algn="l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50" b="1" dirty="0">
                          <a:solidFill>
                            <a:schemeClr val="tx1"/>
                          </a:solidFill>
                          <a:latin typeface="+mn-lt"/>
                        </a:rPr>
                        <a:t>Standard Connectivity</a:t>
                      </a:r>
                    </a:p>
                  </a:txBody>
                  <a:tcPr marL="80683" marR="80683" marT="40341" marB="40341" anchor="ctr"/>
                </a:tc>
                <a:tc gridSpan="2">
                  <a:txBody>
                    <a:bodyPr/>
                    <a:lstStyle/>
                    <a:p>
                      <a:pPr marL="0" marR="0" lvl="0" indent="0" algn="ctr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50" b="0" dirty="0">
                          <a:solidFill>
                            <a:schemeClr val="tx1"/>
                          </a:solidFill>
                          <a:latin typeface="+mn-lt"/>
                        </a:rPr>
                        <a:t>USB </a:t>
                      </a:r>
                    </a:p>
                  </a:txBody>
                  <a:tcPr marL="60512" marR="60512" marT="30256" marB="30256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50" dirty="0">
                          <a:latin typeface="+mn-lt"/>
                        </a:rPr>
                        <a:t>Standard USB </a:t>
                      </a:r>
                      <a:r>
                        <a:rPr lang="en-US" sz="85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● </a:t>
                      </a:r>
                      <a:r>
                        <a:rPr lang="en-US" sz="850" dirty="0">
                          <a:latin typeface="+mn-lt"/>
                        </a:rPr>
                        <a:t>Ethernet </a:t>
                      </a:r>
                    </a:p>
                  </a:txBody>
                  <a:tcPr marL="60512" marR="60512" marT="30256" marB="30256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50" b="0" dirty="0">
                          <a:solidFill>
                            <a:schemeClr val="tx1"/>
                          </a:solidFill>
                          <a:latin typeface="+mn-lt"/>
                        </a:rPr>
                        <a:t>USB </a:t>
                      </a:r>
                      <a:r>
                        <a:rPr lang="en-US" sz="85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● </a:t>
                      </a:r>
                      <a:r>
                        <a:rPr lang="en-US" sz="850" b="0" dirty="0">
                          <a:solidFill>
                            <a:schemeClr val="tx1"/>
                          </a:solidFill>
                          <a:latin typeface="+mn-lt"/>
                        </a:rPr>
                        <a:t>Ethernet </a:t>
                      </a:r>
                      <a:r>
                        <a:rPr lang="en-US" sz="85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●</a:t>
                      </a:r>
                      <a:r>
                        <a:rPr lang="en-US" sz="850" b="0" dirty="0">
                          <a:solidFill>
                            <a:schemeClr val="tx1"/>
                          </a:solidFill>
                          <a:latin typeface="+mn-lt"/>
                        </a:rPr>
                        <a:t> Serial</a:t>
                      </a:r>
                    </a:p>
                  </a:txBody>
                  <a:tcPr marL="60512" marR="60512" marT="30256" marB="30256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0457657"/>
                  </a:ext>
                </a:extLst>
              </a:tr>
              <a:tr h="186291">
                <a:tc>
                  <a:txBody>
                    <a:bodyPr/>
                    <a:lstStyle/>
                    <a:p>
                      <a:pPr marL="0" marR="0" lvl="0" indent="0" algn="l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50" b="1" dirty="0">
                          <a:solidFill>
                            <a:schemeClr val="tx1"/>
                          </a:solidFill>
                          <a:latin typeface="+mn-lt"/>
                        </a:rPr>
                        <a:t>Optional Connectivity </a:t>
                      </a:r>
                    </a:p>
                  </a:txBody>
                  <a:tcPr marL="80683" marR="80683" marT="40341" marB="40341" anchor="ctr"/>
                </a:tc>
                <a:tc gridSpan="2">
                  <a:txBody>
                    <a:bodyPr/>
                    <a:lstStyle/>
                    <a:p>
                      <a:pPr marL="0" marR="0" lvl="0" indent="0" algn="ctr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50" b="0" u="none" dirty="0">
                          <a:solidFill>
                            <a:schemeClr val="tx1"/>
                          </a:solidFill>
                          <a:latin typeface="+mn-lt"/>
                        </a:rPr>
                        <a:t>None</a:t>
                      </a:r>
                    </a:p>
                  </a:txBody>
                  <a:tcPr marL="60512" marR="60512" marT="30256" marB="30256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50" b="0" u="none" dirty="0">
                          <a:solidFill>
                            <a:schemeClr val="tx1"/>
                          </a:solidFill>
                          <a:latin typeface="+mn-lt"/>
                        </a:rPr>
                        <a:t>Wi-Fi/BT module </a:t>
                      </a:r>
                      <a:r>
                        <a:rPr lang="en-US" sz="85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● </a:t>
                      </a:r>
                      <a:r>
                        <a:rPr lang="en-US" sz="850" b="0" u="none" dirty="0">
                          <a:solidFill>
                            <a:schemeClr val="tx1"/>
                          </a:solidFill>
                          <a:latin typeface="+mn-lt"/>
                        </a:rPr>
                        <a:t>Serial</a:t>
                      </a:r>
                    </a:p>
                  </a:txBody>
                  <a:tcPr marL="60512" marR="60512" marT="30256" marB="30256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50" b="0" u="none" dirty="0">
                          <a:solidFill>
                            <a:schemeClr val="tx1"/>
                          </a:solidFill>
                          <a:latin typeface="+mn-lt"/>
                        </a:rPr>
                        <a:t>Wi-Fi/BT module</a:t>
                      </a:r>
                    </a:p>
                  </a:txBody>
                  <a:tcPr marL="60512" marR="60512" marT="30256" marB="30256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525324"/>
                  </a:ext>
                </a:extLst>
              </a:tr>
              <a:tr h="169617">
                <a:tc>
                  <a:txBody>
                    <a:bodyPr/>
                    <a:lstStyle/>
                    <a:p>
                      <a:pPr marL="0" marR="0" lvl="0" indent="0" algn="l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50" b="1" dirty="0">
                          <a:solidFill>
                            <a:schemeClr val="tx1"/>
                          </a:solidFill>
                          <a:latin typeface="+mn-lt"/>
                        </a:rPr>
                        <a:t>Accessories</a:t>
                      </a:r>
                    </a:p>
                  </a:txBody>
                  <a:tcPr marL="80683" marR="80683" marT="40341" marB="40341" anchor="ctr"/>
                </a:tc>
                <a:tc gridSpan="2">
                  <a:txBody>
                    <a:bodyPr/>
                    <a:lstStyle/>
                    <a:p>
                      <a:pPr marL="0" marR="0" lvl="0" indent="0" algn="ctr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50" b="0" u="none" dirty="0">
                          <a:solidFill>
                            <a:schemeClr val="tx1"/>
                          </a:solidFill>
                          <a:latin typeface="+mn-lt"/>
                        </a:rPr>
                        <a:t>Printheads </a:t>
                      </a:r>
                      <a:r>
                        <a:rPr lang="en-US" sz="85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● </a:t>
                      </a:r>
                      <a:r>
                        <a:rPr lang="en-US" sz="850" b="0" u="none" dirty="0">
                          <a:solidFill>
                            <a:schemeClr val="tx1"/>
                          </a:solidFill>
                          <a:latin typeface="+mn-lt"/>
                        </a:rPr>
                        <a:t>Platen Rollers </a:t>
                      </a:r>
                      <a:r>
                        <a:rPr lang="en-US" sz="85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● </a:t>
                      </a:r>
                      <a:r>
                        <a:rPr lang="en-US" sz="850" b="0" u="none" dirty="0">
                          <a:solidFill>
                            <a:schemeClr val="tx1"/>
                          </a:solidFill>
                          <a:latin typeface="+mn-lt"/>
                        </a:rPr>
                        <a:t>Power Cords</a:t>
                      </a:r>
                    </a:p>
                  </a:txBody>
                  <a:tcPr marL="60512" marR="60512" marT="30256" marB="30256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50" b="0" u="none" dirty="0">
                          <a:solidFill>
                            <a:schemeClr val="tx1"/>
                          </a:solidFill>
                          <a:latin typeface="+mn-lt"/>
                        </a:rPr>
                        <a:t>Printheads </a:t>
                      </a:r>
                      <a:r>
                        <a:rPr lang="en-US" sz="85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●</a:t>
                      </a:r>
                      <a:r>
                        <a:rPr lang="en-US" sz="850" b="0" u="none" dirty="0">
                          <a:solidFill>
                            <a:schemeClr val="tx1"/>
                          </a:solidFill>
                          <a:latin typeface="+mn-lt"/>
                        </a:rPr>
                        <a:t> Platen Rollers </a:t>
                      </a:r>
                      <a:r>
                        <a:rPr lang="en-US" sz="85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●</a:t>
                      </a:r>
                      <a:r>
                        <a:rPr lang="en-US" sz="850" b="0" u="none" dirty="0">
                          <a:solidFill>
                            <a:schemeClr val="tx1"/>
                          </a:solidFill>
                          <a:latin typeface="+mn-lt"/>
                        </a:rPr>
                        <a:t> Power Cords </a:t>
                      </a:r>
                      <a:r>
                        <a:rPr lang="en-US" sz="85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● </a:t>
                      </a:r>
                      <a:r>
                        <a:rPr lang="en-US" sz="850" b="0" u="none" dirty="0">
                          <a:solidFill>
                            <a:schemeClr val="tx1"/>
                          </a:solidFill>
                          <a:latin typeface="+mn-lt"/>
                        </a:rPr>
                        <a:t>Cutter Peeler</a:t>
                      </a:r>
                    </a:p>
                  </a:txBody>
                  <a:tcPr marL="60512" marR="60512" marT="30256" marB="30256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50" b="0" u="none" dirty="0">
                          <a:solidFill>
                            <a:schemeClr val="tx1"/>
                          </a:solidFill>
                          <a:latin typeface="+mn-lt"/>
                        </a:rPr>
                        <a:t>Printheads </a:t>
                      </a:r>
                      <a:r>
                        <a:rPr lang="en-US" sz="85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●</a:t>
                      </a:r>
                      <a:r>
                        <a:rPr lang="en-US" sz="850" b="0" u="none" dirty="0">
                          <a:solidFill>
                            <a:schemeClr val="tx1"/>
                          </a:solidFill>
                          <a:latin typeface="+mn-lt"/>
                        </a:rPr>
                        <a:t> Platen Rollers </a:t>
                      </a:r>
                      <a:r>
                        <a:rPr lang="en-US" sz="85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●</a:t>
                      </a:r>
                      <a:r>
                        <a:rPr lang="en-US" sz="850" b="0" u="none" dirty="0">
                          <a:solidFill>
                            <a:schemeClr val="tx1"/>
                          </a:solidFill>
                          <a:latin typeface="+mn-lt"/>
                        </a:rPr>
                        <a:t> Power Cords </a:t>
                      </a:r>
                      <a:r>
                        <a:rPr lang="en-US" sz="85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● </a:t>
                      </a:r>
                      <a:r>
                        <a:rPr lang="en-US" sz="850" b="0" u="none" dirty="0">
                          <a:solidFill>
                            <a:schemeClr val="tx1"/>
                          </a:solidFill>
                          <a:latin typeface="+mn-lt"/>
                        </a:rPr>
                        <a:t>Cutter Peeler</a:t>
                      </a:r>
                    </a:p>
                  </a:txBody>
                  <a:tcPr marL="60512" marR="60512" marT="30256" marB="30256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0541278"/>
                  </a:ext>
                </a:extLst>
              </a:tr>
              <a:tr h="114795">
                <a:tc>
                  <a:txBody>
                    <a:bodyPr/>
                    <a:lstStyle/>
                    <a:p>
                      <a:pPr marL="0" marR="0" lvl="0" indent="0" algn="l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50" b="1" dirty="0">
                          <a:solidFill>
                            <a:schemeClr val="tx1"/>
                          </a:solidFill>
                          <a:latin typeface="+mn-lt"/>
                        </a:rPr>
                        <a:t>Color Scheme Options</a:t>
                      </a:r>
                    </a:p>
                  </a:txBody>
                  <a:tcPr marL="80683" marR="80683" marT="40341" marB="40341"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850" b="0" dirty="0">
                          <a:solidFill>
                            <a:schemeClr val="tx1"/>
                          </a:solidFill>
                          <a:latin typeface="+mn-lt"/>
                        </a:rPr>
                        <a:t>Black Only</a:t>
                      </a:r>
                    </a:p>
                  </a:txBody>
                  <a:tcPr marL="60512" marR="60512" marT="30256" marB="30256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850" b="0" dirty="0">
                          <a:solidFill>
                            <a:schemeClr val="tx1"/>
                          </a:solidFill>
                          <a:latin typeface="+mn-lt"/>
                        </a:rPr>
                        <a:t>Black or White</a:t>
                      </a:r>
                    </a:p>
                  </a:txBody>
                  <a:tcPr marL="60512" marR="60512" marT="30256" marB="30256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850" b="0" dirty="0">
                          <a:solidFill>
                            <a:schemeClr val="tx1"/>
                          </a:solidFill>
                          <a:latin typeface="+mn-lt"/>
                        </a:rPr>
                        <a:t>Black or White</a:t>
                      </a:r>
                    </a:p>
                  </a:txBody>
                  <a:tcPr marL="60512" marR="60512" marT="30256" marB="30256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5643753"/>
                  </a:ext>
                </a:extLst>
              </a:tr>
              <a:tr h="114795">
                <a:tc>
                  <a:txBody>
                    <a:bodyPr/>
                    <a:lstStyle/>
                    <a:p>
                      <a:pPr marL="0" marR="0" lvl="0" indent="0" algn="l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50" b="1" dirty="0">
                          <a:solidFill>
                            <a:schemeClr val="tx1"/>
                          </a:solidFill>
                          <a:latin typeface="+mn-lt"/>
                        </a:rPr>
                        <a:t>Dimensions</a:t>
                      </a:r>
                    </a:p>
                  </a:txBody>
                  <a:tcPr marL="80683" marR="80683" marT="40341" marB="40341"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850" b="0" dirty="0">
                          <a:solidFill>
                            <a:schemeClr val="tx1"/>
                          </a:solidFill>
                          <a:latin typeface="+mn-lt"/>
                        </a:rPr>
                        <a:t>222.5mm x 184mm x 174mm</a:t>
                      </a:r>
                    </a:p>
                  </a:txBody>
                  <a:tcPr marL="60512" marR="60512" marT="30256" marB="30256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850" b="0" dirty="0">
                          <a:solidFill>
                            <a:schemeClr val="tx1"/>
                          </a:solidFill>
                          <a:latin typeface="+mn-lt"/>
                        </a:rPr>
                        <a:t>273mm x 198mm x 168 mm</a:t>
                      </a:r>
                    </a:p>
                  </a:txBody>
                  <a:tcPr marL="60512" marR="60512" marT="30256" marB="30256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50" b="0" dirty="0">
                          <a:solidFill>
                            <a:schemeClr val="tx1"/>
                          </a:solidFill>
                          <a:latin typeface="+mn-lt"/>
                        </a:rPr>
                        <a:t>222.5mm x 184mm x 174mm</a:t>
                      </a:r>
                    </a:p>
                  </a:txBody>
                  <a:tcPr marL="60512" marR="60512" marT="30256" marB="30256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2536473"/>
                  </a:ext>
                </a:extLst>
              </a:tr>
              <a:tr h="114795">
                <a:tc>
                  <a:txBody>
                    <a:bodyPr/>
                    <a:lstStyle/>
                    <a:p>
                      <a:pPr marL="0" marR="0" lvl="0" indent="0" algn="l" defTabSz="9143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50" b="1" dirty="0">
                          <a:solidFill>
                            <a:schemeClr val="tx1"/>
                          </a:solidFill>
                          <a:latin typeface="+mn-lt"/>
                        </a:rPr>
                        <a:t>Low Media Sensor Configuration</a:t>
                      </a:r>
                    </a:p>
                  </a:txBody>
                  <a:tcPr marL="80683" marR="80683" marT="40341" marB="40341"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850" b="0" dirty="0">
                          <a:solidFill>
                            <a:schemeClr val="tx1"/>
                          </a:solidFill>
                          <a:latin typeface="+mn-lt"/>
                        </a:rPr>
                        <a:t>No</a:t>
                      </a:r>
                    </a:p>
                  </a:txBody>
                  <a:tcPr marL="60512" marR="60512" marT="30256" marB="30256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850" b="0" dirty="0">
                          <a:solidFill>
                            <a:schemeClr val="tx1"/>
                          </a:solidFill>
                          <a:latin typeface="+mn-lt"/>
                        </a:rPr>
                        <a:t>No</a:t>
                      </a:r>
                    </a:p>
                  </a:txBody>
                  <a:tcPr marL="60512" marR="60512" marT="30256" marB="30256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850" b="0" dirty="0">
                          <a:solidFill>
                            <a:schemeClr val="tx1"/>
                          </a:solidFill>
                          <a:latin typeface="+mn-lt"/>
                        </a:rPr>
                        <a:t>Yes</a:t>
                      </a:r>
                    </a:p>
                  </a:txBody>
                  <a:tcPr marL="60512" marR="60512" marT="30256" marB="30256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65923230"/>
                  </a:ext>
                </a:extLst>
              </a:tr>
            </a:tbl>
          </a:graphicData>
        </a:graphic>
      </p:graphicFrame>
      <p:sp>
        <p:nvSpPr>
          <p:cNvPr id="48" name="Rectangle 47">
            <a:extLst>
              <a:ext uri="{FF2B5EF4-FFF2-40B4-BE49-F238E27FC236}">
                <a16:creationId xmlns:a16="http://schemas.microsoft.com/office/drawing/2014/main" id="{AE5B1584-0999-A1E8-3824-8405A76D7F7F}"/>
              </a:ext>
            </a:extLst>
          </p:cNvPr>
          <p:cNvSpPr/>
          <p:nvPr/>
        </p:nvSpPr>
        <p:spPr>
          <a:xfrm>
            <a:off x="10283957" y="1257300"/>
            <a:ext cx="45719" cy="457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pic>
        <p:nvPicPr>
          <p:cNvPr id="1040" name="Picture 1039">
            <a:extLst>
              <a:ext uri="{FF2B5EF4-FFF2-40B4-BE49-F238E27FC236}">
                <a16:creationId xmlns:a16="http://schemas.microsoft.com/office/drawing/2014/main" id="{7CDADD11-8341-5FDC-CC02-962D6D0650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6169" y="503609"/>
            <a:ext cx="1233212" cy="822142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705964FE-EF30-C51F-A8F0-AE05B4F671C1}"/>
              </a:ext>
            </a:extLst>
          </p:cNvPr>
          <p:cNvSpPr txBox="1"/>
          <p:nvPr/>
        </p:nvSpPr>
        <p:spPr>
          <a:xfrm>
            <a:off x="237643" y="6538400"/>
            <a:ext cx="361508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*See product datasheet for full product specification, options and accessories. </a:t>
            </a:r>
          </a:p>
        </p:txBody>
      </p:sp>
      <p:sp>
        <p:nvSpPr>
          <p:cNvPr id="4" name="Action Button: Document 3">
            <a:hlinkClick r:id="rId4" highlightClick="1"/>
            <a:extLst>
              <a:ext uri="{FF2B5EF4-FFF2-40B4-BE49-F238E27FC236}">
                <a16:creationId xmlns:a16="http://schemas.microsoft.com/office/drawing/2014/main" id="{DDCE6FDF-5512-9541-EFD9-62554B2EFE23}"/>
              </a:ext>
            </a:extLst>
          </p:cNvPr>
          <p:cNvSpPr/>
          <p:nvPr/>
        </p:nvSpPr>
        <p:spPr>
          <a:xfrm>
            <a:off x="3452256" y="568987"/>
            <a:ext cx="629228" cy="545988"/>
          </a:xfrm>
          <a:prstGeom prst="actionButtonDocumen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59FC3DF-279F-C8C9-36AD-D2A738A6CB6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2549" y="540150"/>
            <a:ext cx="1074254" cy="80691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0B5E599-13A2-CBD9-4ACF-E436209D793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4296" y="568987"/>
            <a:ext cx="807188" cy="753453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1A5DC7F5-B190-0EE9-64DD-5663D03E743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37643" y="175630"/>
            <a:ext cx="1753669" cy="327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98584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1ZsHZybwBHB3NFGab2x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1ZsHZybwBHB3NFGab2x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nLk4GKOP9sp5oC.qa7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5zQajOvoTWXTllZwr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5zQajOvoTWXTllZwrs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1ZsHZybwBHB3NFGab2x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oneywell 2019">
  <a:themeElements>
    <a:clrScheme name="Honeywell 2019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Paragraph Heading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oneywell PPT Template 16x9_2019 pptx (1)" id="{C13D7188-A151-414D-8989-4BEEEFF1DC5C}" vid="{71BD2F07-B865-488E-B5DA-A4FB8B5D2041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d546e5e1-5d42-4630-bacd-c69bfdcbd5e8}" enabled="1" method="Standard" siteId="{96ece526-9c7d-48b0-8daf-8b93c90a5d18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38305</TotalTime>
  <Words>477</Words>
  <Application>Microsoft Office PowerPoint</Application>
  <PresentationFormat>Widescreen</PresentationFormat>
  <Paragraphs>11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Aptos</vt:lpstr>
      <vt:lpstr>Aptos Display</vt:lpstr>
      <vt:lpstr>Arial</vt:lpstr>
      <vt:lpstr>Arial Black</vt:lpstr>
      <vt:lpstr>System Font Regular</vt:lpstr>
      <vt:lpstr>Wingdings</vt:lpstr>
      <vt:lpstr>Honeywell 2019</vt:lpstr>
      <vt:lpstr>Custom Design</vt:lpstr>
      <vt:lpstr>1_Custom Design</vt:lpstr>
      <vt:lpstr>think-cell Slide</vt:lpstr>
      <vt:lpstr>Quick reference guide PC41E-D, PC42E-T, PC42E-D SERI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rkle, Linlee</dc:creator>
  <cp:lastModifiedBy>Markle, Linlee</cp:lastModifiedBy>
  <cp:revision>8</cp:revision>
  <cp:lastPrinted>2025-07-09T11:31:13Z</cp:lastPrinted>
  <dcterms:created xsi:type="dcterms:W3CDTF">2025-06-17T12:52:58Z</dcterms:created>
  <dcterms:modified xsi:type="dcterms:W3CDTF">2026-02-04T18:42:55Z</dcterms:modified>
</cp:coreProperties>
</file>